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56" r:id="rId2"/>
    <p:sldMasterId id="2147483773" r:id="rId3"/>
  </p:sldMasterIdLst>
  <p:notesMasterIdLst>
    <p:notesMasterId r:id="rId43"/>
  </p:notesMasterIdLst>
  <p:handoutMasterIdLst>
    <p:handoutMasterId r:id="rId44"/>
  </p:handoutMasterIdLst>
  <p:sldIdLst>
    <p:sldId id="270" r:id="rId4"/>
    <p:sldId id="354" r:id="rId5"/>
    <p:sldId id="353" r:id="rId6"/>
    <p:sldId id="355" r:id="rId7"/>
    <p:sldId id="372" r:id="rId8"/>
    <p:sldId id="357" r:id="rId9"/>
    <p:sldId id="373" r:id="rId10"/>
    <p:sldId id="358" r:id="rId11"/>
    <p:sldId id="359" r:id="rId12"/>
    <p:sldId id="360" r:id="rId13"/>
    <p:sldId id="362" r:id="rId14"/>
    <p:sldId id="361" r:id="rId15"/>
    <p:sldId id="364" r:id="rId16"/>
    <p:sldId id="374" r:id="rId17"/>
    <p:sldId id="365" r:id="rId18"/>
    <p:sldId id="367" r:id="rId19"/>
    <p:sldId id="368" r:id="rId20"/>
    <p:sldId id="369" r:id="rId21"/>
    <p:sldId id="370" r:id="rId22"/>
    <p:sldId id="377" r:id="rId23"/>
    <p:sldId id="371" r:id="rId24"/>
    <p:sldId id="376" r:id="rId25"/>
    <p:sldId id="378" r:id="rId26"/>
    <p:sldId id="382" r:id="rId27"/>
    <p:sldId id="379" r:id="rId28"/>
    <p:sldId id="350" r:id="rId29"/>
    <p:sldId id="392" r:id="rId30"/>
    <p:sldId id="384" r:id="rId31"/>
    <p:sldId id="391" r:id="rId32"/>
    <p:sldId id="387" r:id="rId33"/>
    <p:sldId id="380" r:id="rId34"/>
    <p:sldId id="381" r:id="rId35"/>
    <p:sldId id="385" r:id="rId36"/>
    <p:sldId id="389" r:id="rId37"/>
    <p:sldId id="390" r:id="rId38"/>
    <p:sldId id="388" r:id="rId39"/>
    <p:sldId id="383" r:id="rId40"/>
    <p:sldId id="339" r:id="rId41"/>
    <p:sldId id="276" r:id="rId42"/>
  </p:sldIdLst>
  <p:sldSz cx="9144000" cy="5143500" type="screen16x9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Arial" charset="0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charset="0"/>
        <a:ea typeface="Arial" charset="0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charset="0"/>
        <a:ea typeface="Arial" charset="0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charset="0"/>
        <a:ea typeface="Arial" charset="0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020" userDrawn="1">
          <p15:clr>
            <a:srgbClr val="A4A3A4"/>
          </p15:clr>
        </p15:guide>
        <p15:guide id="2" pos="624" userDrawn="1">
          <p15:clr>
            <a:srgbClr val="A4A3A4"/>
          </p15:clr>
        </p15:guide>
        <p15:guide id="3" pos="2808" userDrawn="1">
          <p15:clr>
            <a:srgbClr val="A4A3A4"/>
          </p15:clr>
        </p15:guide>
        <p15:guide id="4" orient="horz" pos="3060" userDrawn="1">
          <p15:clr>
            <a:srgbClr val="A4A3A4"/>
          </p15:clr>
        </p15:guide>
        <p15:guide id="5" orient="horz" pos="708" userDrawn="1">
          <p15:clr>
            <a:srgbClr val="A4A3A4"/>
          </p15:clr>
        </p15:guide>
        <p15:guide id="6" orient="horz" pos="468" userDrawn="1">
          <p15:clr>
            <a:srgbClr val="A4A3A4"/>
          </p15:clr>
        </p15:guide>
        <p15:guide id="7" orient="horz" pos="2244" userDrawn="1">
          <p15:clr>
            <a:srgbClr val="A4A3A4"/>
          </p15:clr>
        </p15:guide>
        <p15:guide id="8" pos="1704" userDrawn="1">
          <p15:clr>
            <a:srgbClr val="A4A3A4"/>
          </p15:clr>
        </p15:guide>
        <p15:guide id="9" pos="3336" userDrawn="1">
          <p15:clr>
            <a:srgbClr val="A4A3A4"/>
          </p15:clr>
        </p15:guide>
        <p15:guide id="10" pos="4824" userDrawn="1">
          <p15:clr>
            <a:srgbClr val="A4A3A4"/>
          </p15:clr>
        </p15:guide>
        <p15:guide id="11" orient="horz" pos="2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liss, Kellie" initials="BK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DADBDB"/>
    <a:srgbClr val="696A6D"/>
    <a:srgbClr val="A1A1A4"/>
    <a:srgbClr val="C2D1D4"/>
    <a:srgbClr val="AFDDD2"/>
    <a:srgbClr val="E9D666"/>
    <a:srgbClr val="94A545"/>
    <a:srgbClr val="425968"/>
    <a:srgbClr val="D0E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270"/>
    <p:restoredTop sz="65212" autoAdjust="0"/>
  </p:normalViewPr>
  <p:slideViewPr>
    <p:cSldViewPr snapToGrid="0" showGuides="1">
      <p:cViewPr varScale="1">
        <p:scale>
          <a:sx n="164" d="100"/>
          <a:sy n="164" d="100"/>
        </p:scale>
        <p:origin x="160" y="280"/>
      </p:cViewPr>
      <p:guideLst>
        <p:guide orient="horz" pos="1020"/>
        <p:guide pos="624"/>
        <p:guide pos="2808"/>
        <p:guide orient="horz" pos="3060"/>
        <p:guide orient="horz" pos="708"/>
        <p:guide orient="horz" pos="468"/>
        <p:guide orient="horz" pos="2244"/>
        <p:guide pos="1704"/>
        <p:guide pos="3336"/>
        <p:guide pos="4824"/>
        <p:guide orient="horz" pos="241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51" d="100"/>
          <a:sy n="151" d="100"/>
        </p:scale>
        <p:origin x="4208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ACDDDB3-FA51-FA4B-AD0A-B20099F8896D}" type="datetimeFigureOut">
              <a:rPr lang="en-US" smtClean="0"/>
              <a:t>4/24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9B3A4A8-36D1-9B42-BB99-419E94051E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9087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4-20T14:26:24.57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2038 75 24575,'-19'10'0,"-10"2"0,-23 10 0,-2-1 0,-19 8 0,-4-4 0,6 2 0,-15-2 0,17-4 0,1-1 0,6-1 0,14-2 0,-10 5 0,15-4 0,-4 3 0,9-5 0,2 3 0,-2 2 0,-5 4 0,4 2 0,-1 3 0,-6 4 0,4 5 0,-3-3 0,-3 11 0,-2 2 0,2 1 0,-7 15 0,13-5 0,-3 8 0,6 7 0,-3 7 0,10-7 0,-6 13 0,8-12 0,-1 0 0,-3 12 0,2-10 0,3 6 0,2 4 0,6-4 0,0 3 0,-3 10 0,6-6 0,-3 6 0,12-44 0,1 0 0,0-1 0,1 0 0,-1-1 0,1 0 0,1 7 0,2 0 0,0-7 0,1 0 0,0 1 0,0 0 0,1 3 0,-1-1 0,2-2 0,0 1 0,-2-3 0,1 2 0,2 7 0,0 1 0,-1-5 0,0 0 0,-1 0 0,1 3 0,1 8 0,0 2 0,1-4 0,1-1 0,-2 2 0,1 1 0,4 2 0,0-1 0,-4-8 0,1-2 0,2-2 0,-1 0 0,0 5 0,0-1 0,0-8 0,1 0 0,-1 0 0,1 0 0,2 0 0,0-1 0,6 40 0,6 0 0,-8-39 0,0-1 0,13 35 0,-2-3 0,3-3 0,-4-10 0,5 7 0,2 9 0,2 0 0,2-2 0,-1 9 0,-1-19 0,-6-3 0,2-1 0,-5-8 0,-1 1 0,1 3 0,2-3 0,-3-6 0,4 10 0,-5-16 0,0-2 0,1 0 0,-4-10 0,2 4 0,-2-1 0,2 3 0,-1-4 0,-1 6 0,-4-9 0,-1-3 0,0 1 0,-2-4 0,-1-1 0,0-2 0,-2-2 0,0-3 0,1 2 0,-1-4 0,0 0 0,0 2 0,-2-2 0,0-1 0,0-1 0,0-4 0,0-1 0,0-1 0,0 0 0,0-1 0,0 5 0,1-1 0,-1-1 0,1 0 0,-2-3 0,0-2 0,0 2 0,0-2 0,0 0 0,0 3 0,1 0 0,-1 0 0,0-1 0,-2-2 0,2-1 0,-1 0 0,-1 3 0,3 0 0,-2 3 0,4-1 0,-3 0 0,2 1 0,-3-3 0,1 0 0,0-2 0,-1-2 0,1 0 0,0 2 0,0-1 0,0 0 0,-1-1 0,0-1 0,1 1 0,1 1 0,0 1 0,-1-2 0,1 2 0,1-3 0,-1 1 0,4 0 0,-4 0 0,2-1 0,-2 0 0,2 0 0,3 2 0,4 2 0,4 3 0,0-3 0,3 5 0,-1-4 0,2 2 0,2 0 0,1-3 0,1 1 0,3-2 0,0-1 0,1-1 0,3-3 0,3 2 0,-1-3 0,5 1 0,-4-3 0,-1 1 0,2-1 0,-5 0 0,6 1 0,1-1 0,9 2 0,-5 0 0,9 0 0,-18 0 0,5 0 0,-9 1 0,10 1 0,0-2 0,10 3 0,-1-1 0,5 2 0,-2-3 0,1 0 0,-12-5 0,10 4 0,-15-4 0,11 4 0,-6-2 0,1 1 0,-8 1 0,-3-2 0,-6 1 0,4-3 0,-3 3 0,5-3 0,0 2 0,-2-1 0,6-1 0,-7 3 0,5-2 0,3 2 0,-1-1 0,7 0 0,-5-1 0,1-1 0,-2 2 0,-2-2 0,-8 2 0,-1-2 0,-10 0 0,-2 0 0,0 0 0,-4 0 0,3-1 0,0 0 0,4-1 0,-2 0 0,8-1 0,0-2 0,12-1 0,1 1 0,1-2 0,-2 3 0,-7-2 0,-4 3 0,-5-1 0,-3 1 0,1-1 0,4-6 0,7-1 0,1-4 0,2-1 0,-2-3 0,1-2 0,2-3 0,0-2 0,3 2 0,-7 1 0,1-2 0,-3 1 0,-3 0 0,4-5 0,-5 2 0,4-6 0,0-7 0,-2-3 0,-5 0 0,-1-7 0,-8 9 0,-2-1 0,-3 8 0,-2 8 0,0 7 0,0 4 0,0 3 0,0 2 0,0-2 0,0 0 0,-1-2 0,-1-5 0,-3-2 0,1-1 0,-2-4 0,2 2 0,-1 0 0,2 0 0,0 2 0,-2 1 0,0-6 0,-2 5 0,2-5 0,0 4 0,0-2 0,2 3 0,-2-3 0,2 4 0,-1 1 0,1 0 0,1 0 0,0 1 0,1-4 0,0 2 0,1-1 0,0 1 0,0 0 0,0 5 0,-2-4 0,2 4 0,-1-1 0,1-2 0,0 0 0,0-1 0,-2-3 0,2-2 0,-3-1 0,2-7 0,0 0 0,-1 1 0,2-2 0,-3 5 0,2 1 0,0-1 0,1 3 0,-2 2 0,2-2 0,-1 2 0,-1-1 0,2 0 0,-2 0 0,2 1 0,-1-3 0,0 0 0,0-1 0,-1 0 0,2-3 0,-1 3 0,-1-10 0,1 1 0,-2-5 0,3 7 0,-4-5 0,4 11 0,-4-7 0,2 4 0,0 2 0,-1 0 0,3 4 0,-1 2 0,-1-3 0,0 2 0,0-3 0,1 3 0,-1-2 0,0 1 0,-1-5 0,-1-4 0,0-2 0,2 1 0,-1 2 0,3 2 0,-2-4 0,0-2 0,2-5 0,-2 5 0,2-3 0,0 11 0,0-3 0,0-1 0,2-4 0,-2-3 0,4-3 0,-4 2 0,2-4 0,0 1 0,-2-1 0,3 4 0,-2-4 0,2 6 0,-3-8 0,2-2 0,0 2 0,-2 6 0,2 2 0,-1 9 0,0-7 0,0 1 0,-1 0 0,0 0 0,0 1 0,0 4 0,2-4 0,-2 4 0,2-4 0,-1 5 0,1-6 0,0 6 0,2-12 0,-2 5 0,0-3 0,1 4 0,-1-3 0,3 4 0,-1-7 0,4 1 0,0-7 0,0 3 0,2-7 0,-5 10 0,3-7 0,-4 5 0,4-4 0,-2 2 0,2-5 0,-1 5 0,0-7 0,0 4 0,-2 0 0,0 4 0,-1 0 0,0 3 0,-2-3 0,0 7 0,-2-5 0,0 11 0,0-4 0,0 6 0,0-5 0,0 2 0,1-5 0,0 0 0,0-3 0,-1 1 0,0 2 0,0 0 0,2 2 0,-2 3 0,2-2 0,-2 4 0,0 2 0,0 1 0,-2 1 0,2 2 0,-2-3 0,2 0 0,0 0 0,-1-6 0,-3 5 0,0-2 0,-3-6 0,3 2 0,-3-6 0,-1-1 0,0-1 0,-1 1 0,-1-7 0,-2 5 0,0-3 0,-3 0 0,-1 3 0,0 0 0,-4-4 0,-2-1 0,1-1 0,-7-1 0,6 7 0,-3 6 0,2-5 0,-2 5 0,3 0 0,-5-1 0,3 6 0,-3-1 0,-4-1 0,3 6 0,-2-1 0,0 2 0,1 3 0,1 0 0,-1 3 0,-2-1 0,-3 2 0,-9-1 0,-6-1 0,0 3 0,-9-5 0,2 6 0,2 2 0,-8 3 0,6 1 0,0 3 0,-1-5 0,8 8 0,6-2 0,2 4 0,9 4 0,6-1 0,-1 3 0,6-1 0,3 1 0,-1 0 0,7 0 0,0 0 0,4 1 0,2-1 0,2 1 0,-6 4 0,-5 2 0,-8 4 0,2 1 0,2-1 0,3-2 0,4-3 0,3 0 0,4-5 0,2 1 0,0-8 0,0-5 0,2 3 0,-1-2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4-20T11:17:16.52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3271 777 24575,'5'-6'0,"2"-1"0,-1-2 0,2 0 0,-2 0 0,0 0 0,0 1 0,-1 1 0,-1 1 0,-1 1 0,0 1 0,-1 0 0,1-1 0,1 0 0,-1-1 0,2 0 0,-2 0 0,0 1 0,-1-2 0,0 1 0,0 0 0,1 0 0,0-1 0,0 1 0,-1-1 0,0 1 0,0 0 0,-1 2 0,1 0 0,0 0 0,-1-1 0,1 0 0,-1 0 0,0 1 0,1 0 0,-2 0 0,1-1 0,0 1 0,0-2 0,1-1 0,-1 2 0,1-2 0,-2 1 0,2 0 0,-2 0 0,2 0 0,-2-2 0,2 0 0,-2 0 0,1-2 0,0-2 0,0 2 0,0-1 0,0 1 0,0 1 0,0-2 0,1 2 0,-2-4 0,2 4 0,-1-2 0,0 1 0,0 1 0,-1-1 0,0 2 0,0 1 0,0 2 0,0-1 0,0 1 0,0 0 0,0 1 0,0 0 0,0-1 0,0 0 0,0-1 0,-1-1 0,0 1 0,0 1 0,-1-1 0,1 1 0,-1 0 0,0 0 0,-1 0 0,0 0 0,-2-1 0,-1 0 0,-1-1 0,-3-1 0,1 0 0,-3-1 0,1-1 0,-1 0 0,-4-3 0,-1 0 0,-2-1 0,0 1 0,3 2 0,1 2 0,0 0 0,4 4 0,-3-1 0,4 2 0,0 1 0,-1 0 0,1 0 0,-3 0 0,0 1 0,-3-1 0,2 1 0,-3 1 0,6-1 0,-1 1 0,0-1 0,3 2 0,-4-1 0,2 1 0,-2 0 0,-7-1 0,-3-1 0,-2 1 0,-7-2 0,6 3 0,-3-2 0,1 1 0,-1 0 0,0-1 0,-9-1 0,8 2 0,-7-2 0,6 0 0,-2 1 0,3 0 0,1 0 0,0 0 0,4 0 0,-2 2 0,3-2 0,1 1 0,-2 0 0,3 1 0,-2 0 0,3-1 0,3 1 0,1-1 0,5 1 0,-2 0 0,0 0 0,-4 0 0,2 0 0,-3 0 0,0 0 0,-3 0 0,-5 0 0,3 0 0,-4-2 0,-1 2 0,3-1 0,-6 1 0,7 0 0,-2 1 0,0-1 0,0 3 0,0-3 0,-7 1 0,1-1 0,-4 0 0,-1 1 0,5 0 0,-4 1 0,4 0 0,0 0 0,1-1 0,3-1 0,0 0 0,0 0 0,2 0 0,5 0 0,-2 0 0,3 0 0,0 0 0,-5 0 0,5 0 0,-9 0 0,4 0 0,1 1 0,-1-1 0,3 1 0,1-1 0,2 0 0,2 0 0,0 0 0,0 0 0,1 1 0,4 0 0,-2 0 0,4-1 0,-4 0 0,1 0 0,-1 0 0,1 0 0,2 0 0,0 0 0,-2 0 0,1 0 0,1 0 0,1 0 0,3 0 0,1 1 0,1-1 0,2 1 0,-1-1 0,-1 0 0,1 0 0,-1 0 0,0 0 0,-2 0 0,-1 0 0,-2 0 0,1 0 0,-3 0 0,-1 0 0,1 0 0,-3 0 0,4 0 0,-2 0 0,0 0 0,0 0 0,0 0 0,3 1 0,0-1 0,-2 1 0,2-1 0,-2 0 0,2 0 0,-2 0 0,1 0 0,-3 0 0,3 0 0,-4 0 0,3 0 0,0 0 0,-1 0 0,3 0 0,-1 0 0,-2 0 0,-1 0 0,0 0 0,-3 0 0,-1 0 0,-1 0 0,-1 0 0,6 0 0,-1 1 0,2-1 0,0 1 0,-3-1 0,4 0 0,-2 0 0,4 1 0,-2-1 0,4 1 0,1-1 0,4 0 0,2 0 0,0 1 0,-1-1 0,-3 5 0,-4-1 0,-3 6 0,0-2 0,-2 3 0,3 0 0,-2 1 0,3 0 0,-2 0 0,4-2 0,-1 3 0,2-2 0,0 0 0,3 0 0,0-3 0,1 3 0,1-2 0,0 1 0,2 2 0,0-2 0,1 2 0,0-1 0,2 1 0,-1 0 0,2-2 0,0 0 0,-1-2 0,0-1 0,0-2 0,2 3 0,-1-3 0,3 3 0,-1-2 0,-1-1 0,1-1 0,-2 0 0,0-1 0,-1 1 0,1 1 0,0-1 0,1 2 0,0-1 0,-1 2 0,2-1 0,-1 0 0,2 2 0,-1 1 0,5 1 0,-2 2 0,3-2 0,-1 3 0,-2-4 0,2 2 0,-3-5 0,0 2 0,-1-3 0,-1 0 0,0-1 0,1 2 0,0-2 0,1 2 0,0 0 0,0-1 0,0 0 0,-1 0 0,-1-2 0,1 1 0,-1-1 0,3 1 0,0 1 0,2 1 0,3 0 0,-2 0 0,1-1 0,1 0 0,-2 0 0,3-2 0,-2 2 0,1-2 0,0 2 0,1-2 0,-1 1 0,-2-2 0,4 1 0,-4 0 0,4 0 0,-2-1 0,-1 0 0,0 1 0,0-2 0,-3 1 0,3-1 0,1 1 0,0 0 0,5 0 0,0 1 0,0-2 0,1 2 0,-5-2 0,1 0 0,-2-1 0,-2 2 0,0-2 0,-1 1 0,1-1 0,3 0 0,-1 0 0,0 0 0,-1 1 0,-4-1 0,0 1 0,0-1 0,-2 0 0,1 0 0,1 0 0,-2 0 0,3 1 0,-2 0 0,3 0 0,1-1 0,3 0 0,0 0 0,2 0 0,-2 0 0,1 0 0,4 1 0,-3-1 0,9 2 0,-1-1 0,0 1 0,2-1 0,-1 1 0,-1-1 0,4 0 0,-6-1 0,3 2 0,0 0 0,2 1 0,-1-1 0,2 0 0,-3 0 0,4-2 0,1 4 0,0-2 0,5 2 0,-5-1 0,2-1 0,-4 1 0,1 0 0,-3-1 0,3 1 0,-1-2 0,-2 1 0,0-1 0,-4-1 0,3 2 0,1-1 0,0 1 0,4-1 0,-3 2 0,1 0 0,1-2 0,-5 0 0,2 1 0,-5-1 0,1 0 0,0 1 0,3 0 0,-6-1 0,4 0 0,-6 1 0,2-2 0,-1 1 0,-1 0 0,1-1 0,6 2 0,0-1 0,4 0 0,1 0 0,-2 1 0,0-1 0,0 0 0,-5 0 0,2 0 0,-5 0 0,0-1 0,-2 0 0,0 0 0,0 1 0,6-1 0,-1 1 0,-1-1 0,-1 0 0,-7 0 0,-1 0 0,0 0 0,-1 0 0,4 0 0,0 0 0,3 0 0,1 0 0,-2 0 0,-1 0 0,-2 0 0,-3 0 0,-2 0 0,0 0 0,-2 0 0,1 0 0,2 0 0,1 0 0,4 0 0,-1-1 0,1 1 0,-3-1 0,-3 0 0,-3 1 0,0-1 0,1 1 0,0 0 0,3 0 0,-1 0 0,1 0 0,-2 0 0,1-1 0,0 0 0,-2 0 0,0 1 0,0 0 0,-2 0 0,1 0 0,0 0 0,0 0 0,-1 0 0,1 0 0,0 0 0,2 0 0,0 1 0,1 0 0,1 0 0,-1-1 0,-2 0 0,1 0 0,-1 0 0,1 0 0,5 0 0,2 0 0,1 0 0,3 0 0,-4 0 0,1 0 0,-5 0 0,-2 0 0,-1 0 0,0-1 0,-2 0 0,1 0 0,-1 1 0,-1 0 0,0 0 0,0 0 0,-1 0 0,1 0 0,-1 0 0,-1 0 0,-1 0 0,2-1 0,0 0 0,4 1 0,-3 0 0,-1 0 0,0 0 0,-1 0 0,1-1 0,-3 1 0,0 0 0,-2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F959DE8-BC8A-9342-BA3F-D795D5990682}" type="datetimeFigureOut">
              <a:rPr lang="en-US"/>
              <a:pPr>
                <a:defRPr/>
              </a:pPr>
              <a:t>4/24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4696D1D-ED38-CE46-A803-2C7949BBFEE6}" type="slidenum">
              <a:rPr lang="en-US" altLang="x-none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8152948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50952-14C9-4115-B093-8DCCF6FB8676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102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50952-14C9-4115-B093-8DCCF6FB8676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5553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50952-14C9-4115-B093-8DCCF6FB8676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454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50952-14C9-4115-B093-8DCCF6FB8676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5957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50952-14C9-4115-B093-8DCCF6FB8676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6794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50952-14C9-4115-B093-8DCCF6FB8676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545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alking point (Mini COPD) protocol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RT Leaders:  North – Andrea Hayes</a:t>
            </a:r>
          </a:p>
          <a:p>
            <a:r>
              <a:rPr lang="en-US" dirty="0"/>
              <a:t>                              Saxony – Jodi Newber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176B3B-5656-40ED-BD79-5D28097A21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10402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50952-14C9-4115-B093-8DCCF6FB8676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706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DADBD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8622" y="1785855"/>
            <a:ext cx="5374265" cy="99344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2571" y="2860770"/>
            <a:ext cx="4790727" cy="467512"/>
          </a:xfrm>
        </p:spPr>
        <p:txBody>
          <a:bodyPr anchor="ctr"/>
          <a:lstStyle>
            <a:lvl1pPr marL="0" indent="0" algn="l">
              <a:buNone/>
              <a:defRPr sz="17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886" y="3984234"/>
            <a:ext cx="2499318" cy="581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851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|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231" y="2188029"/>
            <a:ext cx="7251049" cy="796835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11398" y="4663981"/>
            <a:ext cx="719470" cy="274638"/>
          </a:xfrm>
        </p:spPr>
        <p:txBody>
          <a:bodyPr/>
          <a:lstStyle>
            <a:lvl1pPr defTabSz="914378">
              <a:defRPr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fld id="{DA86648E-21C2-4E4D-995E-31FFBD2E87B9}" type="slidenum">
              <a:rPr lang="x-none" altLang="x-none" smtClean="0"/>
              <a:pPr/>
              <a:t>‹#›</a:t>
            </a:fld>
            <a:endParaRPr lang="en-US" altLang="x-non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62" y="4023948"/>
            <a:ext cx="2517414" cy="519352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702472" y="2860770"/>
            <a:ext cx="6702536" cy="467512"/>
          </a:xfrm>
        </p:spPr>
        <p:txBody>
          <a:bodyPr anchor="ctr"/>
          <a:lstStyle>
            <a:lvl1pPr marL="0" indent="0" algn="l">
              <a:buNone/>
              <a:defRPr sz="1700">
                <a:solidFill>
                  <a:srgbClr val="696A6D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79082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138785" y="4662606"/>
            <a:ext cx="792782" cy="274638"/>
          </a:xfrm>
        </p:spPr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013254" y="1604200"/>
            <a:ext cx="7133900" cy="3232554"/>
          </a:xfrm>
        </p:spPr>
        <p:txBody>
          <a:bodyPr/>
          <a:lstStyle>
            <a:lvl1pPr marL="137156" indent="-137156">
              <a:spcBef>
                <a:spcPts val="0"/>
              </a:spcBef>
              <a:spcAft>
                <a:spcPts val="600"/>
              </a:spcAft>
              <a:buSzPct val="125000"/>
              <a:buFont typeface="Wingdings" panose="05000000000000000000" pitchFamily="2" charset="2"/>
              <a:buChar char="§"/>
              <a:defRPr sz="1200">
                <a:solidFill>
                  <a:srgbClr val="696A6D"/>
                </a:solidFill>
                <a:latin typeface="+mn-lt"/>
              </a:defRPr>
            </a:lvl1pPr>
            <a:lvl2pPr marL="320032" indent="-137156">
              <a:spcBef>
                <a:spcPts val="0"/>
              </a:spcBef>
              <a:spcAft>
                <a:spcPts val="600"/>
              </a:spcAft>
              <a:buSzPct val="125000"/>
              <a:buFont typeface="Wingdings" panose="05000000000000000000" pitchFamily="2" charset="2"/>
              <a:buChar char="§"/>
              <a:defRPr sz="1200">
                <a:solidFill>
                  <a:srgbClr val="696A6D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600"/>
              </a:spcAft>
              <a:defRPr sz="1200">
                <a:solidFill>
                  <a:srgbClr val="696A6D"/>
                </a:solidFill>
                <a:latin typeface="+mn-lt"/>
                <a:ea typeface="Franklin Gothic Medium" charset="0"/>
                <a:cs typeface="Franklin Gothic Medium" charset="0"/>
              </a:defRPr>
            </a:lvl3pPr>
            <a:lvl4pPr>
              <a:defRPr sz="12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4pPr>
            <a:lvl5pPr>
              <a:defRPr sz="12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2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0553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Imag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003301" y="1603297"/>
            <a:ext cx="3444947" cy="3196992"/>
          </a:xfrm>
        </p:spPr>
        <p:txBody>
          <a:bodyPr/>
          <a:lstStyle>
            <a:lvl1pPr marL="0" indent="0">
              <a:buFont typeface="Arial" charset="0"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95826" y="1602388"/>
            <a:ext cx="3421349" cy="3168992"/>
          </a:xfrm>
        </p:spPr>
        <p:txBody>
          <a:bodyPr/>
          <a:lstStyle>
            <a:lvl1pPr>
              <a:spcAft>
                <a:spcPts val="600"/>
              </a:spcAft>
              <a:defRPr>
                <a:latin typeface="+mn-lt"/>
              </a:defRPr>
            </a:lvl1pPr>
            <a:lvl2pPr>
              <a:spcAft>
                <a:spcPts val="600"/>
              </a:spcAft>
              <a:defRPr>
                <a:latin typeface="+mn-lt"/>
              </a:defRPr>
            </a:lvl2pPr>
            <a:lvl3pPr>
              <a:spcAft>
                <a:spcPts val="600"/>
              </a:spcAft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2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225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2 Copy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10653" y="1601326"/>
            <a:ext cx="3561348" cy="3231932"/>
          </a:xfrm>
        </p:spPr>
        <p:txBody>
          <a:bodyPr numCol="1" spcCol="18288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2" y="4326419"/>
            <a:ext cx="473920" cy="519352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578264" y="1603375"/>
            <a:ext cx="3576311" cy="3225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168589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Image (More Spa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3233"/>
          <a:stretch/>
        </p:blipFill>
        <p:spPr>
          <a:xfrm>
            <a:off x="1" y="0"/>
            <a:ext cx="2447567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1003301" y="1601967"/>
            <a:ext cx="7158844" cy="334816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900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1003300" y="1663201"/>
            <a:ext cx="7143854" cy="2825750"/>
          </a:xfrm>
        </p:spPr>
        <p:txBody>
          <a:bodyPr/>
          <a:lstStyle>
            <a:lvl1pPr marL="0" indent="0">
              <a:buFont typeface="Arial" charset="0"/>
              <a:buNone/>
              <a:defRPr/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2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9148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1011239" y="1663726"/>
            <a:ext cx="7113431" cy="295592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2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2635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39641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idx="1"/>
          </p:nvPr>
        </p:nvSpPr>
        <p:spPr bwMode="gray">
          <a:xfrm>
            <a:off x="457200" y="914400"/>
            <a:ext cx="8229600" cy="3714750"/>
          </a:xfrm>
          <a:prstGeom prst="rect">
            <a:avLst/>
          </a:prstGeom>
        </p:spPr>
        <p:txBody>
          <a:bodyPr lIns="45720" r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381627" y="4493420"/>
            <a:ext cx="3305175" cy="192881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buNone/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90514" y="21432"/>
            <a:ext cx="7777162" cy="8429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9551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: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138785" y="4662606"/>
            <a:ext cx="792782" cy="274638"/>
          </a:xfrm>
        </p:spPr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013254" y="1604200"/>
            <a:ext cx="7133900" cy="3232554"/>
          </a:xfrm>
        </p:spPr>
        <p:txBody>
          <a:bodyPr/>
          <a:lstStyle>
            <a:lvl1pPr marL="137156" indent="-137156">
              <a:spcBef>
                <a:spcPts val="0"/>
              </a:spcBef>
              <a:spcAft>
                <a:spcPts val="600"/>
              </a:spcAft>
              <a:buSzPct val="125000"/>
              <a:buFont typeface="Wingdings" panose="05000000000000000000" pitchFamily="2" charset="2"/>
              <a:buChar char="§"/>
              <a:defRPr sz="1200">
                <a:solidFill>
                  <a:srgbClr val="696A6D"/>
                </a:solidFill>
                <a:latin typeface="+mn-lt"/>
              </a:defRPr>
            </a:lvl1pPr>
            <a:lvl2pPr marL="320032" indent="-137156">
              <a:spcBef>
                <a:spcPts val="0"/>
              </a:spcBef>
              <a:spcAft>
                <a:spcPts val="600"/>
              </a:spcAft>
              <a:buSzPct val="125000"/>
              <a:buFont typeface="Wingdings" panose="05000000000000000000" pitchFamily="2" charset="2"/>
              <a:buChar char="§"/>
              <a:defRPr sz="1200">
                <a:solidFill>
                  <a:srgbClr val="696A6D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600"/>
              </a:spcAft>
              <a:defRPr sz="1200">
                <a:solidFill>
                  <a:srgbClr val="696A6D"/>
                </a:solidFill>
                <a:latin typeface="+mn-lt"/>
                <a:ea typeface="Franklin Gothic Medium" charset="0"/>
                <a:cs typeface="Franklin Gothic Medium" charset="0"/>
              </a:defRPr>
            </a:lvl3pPr>
            <a:lvl4pPr>
              <a:defRPr sz="12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4pPr>
            <a:lvl5pPr>
              <a:defRPr sz="12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2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476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|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230" y="2188028"/>
            <a:ext cx="7251049" cy="796835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11397" y="4663981"/>
            <a:ext cx="719470" cy="274638"/>
          </a:xfrm>
        </p:spPr>
        <p:txBody>
          <a:bodyPr/>
          <a:lstStyle>
            <a:lvl1pPr defTabSz="914400">
              <a:defRPr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fld id="{DA86648E-21C2-4E4D-995E-31FFBD2E87B9}" type="slidenum">
              <a:rPr lang="x-none" altLang="x-none" smtClean="0"/>
              <a:pPr/>
              <a:t>‹#›</a:t>
            </a:fld>
            <a:endParaRPr lang="en-US" altLang="x-non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62" y="4023948"/>
            <a:ext cx="2517414" cy="519352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702471" y="2860770"/>
            <a:ext cx="6702536" cy="467512"/>
          </a:xfrm>
        </p:spPr>
        <p:txBody>
          <a:bodyPr anchor="ctr"/>
          <a:lstStyle>
            <a:lvl1pPr marL="0" indent="0" algn="l">
              <a:buNone/>
              <a:defRPr sz="1700">
                <a:solidFill>
                  <a:srgbClr val="696A6D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62724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ransition |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231" y="2188029"/>
            <a:ext cx="7251049" cy="796835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11398" y="4663981"/>
            <a:ext cx="719470" cy="274638"/>
          </a:xfrm>
        </p:spPr>
        <p:txBody>
          <a:bodyPr/>
          <a:lstStyle>
            <a:lvl1pPr defTabSz="914378">
              <a:defRPr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fld id="{DA86648E-21C2-4E4D-995E-31FFBD2E87B9}" type="slidenum">
              <a:rPr lang="x-none" altLang="x-none" smtClean="0"/>
              <a:pPr/>
              <a:t>‹#›</a:t>
            </a:fld>
            <a:endParaRPr lang="en-US" altLang="x-non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62" y="4023948"/>
            <a:ext cx="2517414" cy="519352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702472" y="2860770"/>
            <a:ext cx="6702536" cy="467512"/>
          </a:xfrm>
        </p:spPr>
        <p:txBody>
          <a:bodyPr anchor="ctr"/>
          <a:lstStyle>
            <a:lvl1pPr marL="0" indent="0" algn="l">
              <a:buNone/>
              <a:defRPr sz="1700">
                <a:solidFill>
                  <a:srgbClr val="696A6D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438928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: Image (More Spa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3233"/>
          <a:stretch/>
        </p:blipFill>
        <p:spPr>
          <a:xfrm>
            <a:off x="3" y="0"/>
            <a:ext cx="2447567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1003302" y="1718843"/>
            <a:ext cx="7158844" cy="2956287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23822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892"/>
            <a:fld id="{B3F30690-EB25-41EF-97DC-41CDEDE735C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42892"/>
              <a:t>4/24/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892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892"/>
            <a:fld id="{11536C3D-DF96-4D44-9195-077DEDCD44D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42892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12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5D8FE1-7284-457B-8CBD-E6CB6C22BC08}" type="datetime1">
              <a:rPr lang="en-US" smtClean="0"/>
              <a:t>4/24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2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40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138785" y="4662606"/>
            <a:ext cx="792782" cy="274638"/>
          </a:xfrm>
        </p:spPr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013254" y="1714200"/>
            <a:ext cx="7133900" cy="3232554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200">
                <a:solidFill>
                  <a:srgbClr val="696A6D"/>
                </a:solidFill>
                <a:latin typeface="+mn-lt"/>
              </a:defRPr>
            </a:lvl1pPr>
            <a:lvl2pPr>
              <a:spcBef>
                <a:spcPts val="0"/>
              </a:spcBef>
              <a:spcAft>
                <a:spcPts val="900"/>
              </a:spcAft>
              <a:defRPr sz="1200">
                <a:solidFill>
                  <a:srgbClr val="696A6D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900"/>
              </a:spcAft>
              <a:defRPr sz="1200">
                <a:solidFill>
                  <a:srgbClr val="696A6D"/>
                </a:solidFill>
                <a:latin typeface="+mn-lt"/>
                <a:ea typeface="Franklin Gothic Medium" charset="0"/>
                <a:cs typeface="Franklin Gothic Medium" charset="0"/>
              </a:defRPr>
            </a:lvl3pPr>
            <a:lvl4pPr>
              <a:defRPr sz="12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4pPr>
            <a:lvl5pPr>
              <a:defRPr sz="12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2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0482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DADBD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8623" y="1785856"/>
            <a:ext cx="5374265" cy="993446"/>
          </a:xfrm>
        </p:spPr>
        <p:txBody>
          <a:bodyPr anchor="b"/>
          <a:lstStyle>
            <a:lvl1pPr>
              <a:defRPr sz="2100">
                <a:solidFill>
                  <a:schemeClr val="accent1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2573" y="2860771"/>
            <a:ext cx="4790727" cy="467512"/>
          </a:xfrm>
        </p:spPr>
        <p:txBody>
          <a:bodyPr anchor="ctr"/>
          <a:lstStyle>
            <a:lvl1pPr marL="0" indent="0" algn="l">
              <a:buNone/>
              <a:defRPr sz="1275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887" y="3984234"/>
            <a:ext cx="2499318" cy="581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7128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|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231" y="2188030"/>
            <a:ext cx="7251049" cy="79683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11398" y="4663982"/>
            <a:ext cx="719470" cy="274638"/>
          </a:xfrm>
        </p:spPr>
        <p:txBody>
          <a:bodyPr/>
          <a:lstStyle>
            <a:lvl1pPr defTabSz="685784">
              <a:defRPr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fld id="{DA86648E-21C2-4E4D-995E-31FFBD2E87B9}" type="slidenum">
              <a:rPr lang="x-none" altLang="x-none" smtClean="0"/>
              <a:pPr/>
              <a:t>‹#›</a:t>
            </a:fld>
            <a:endParaRPr lang="en-US" altLang="x-non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62" y="4023949"/>
            <a:ext cx="2517414" cy="519352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702472" y="2860771"/>
            <a:ext cx="6702536" cy="467512"/>
          </a:xfrm>
        </p:spPr>
        <p:txBody>
          <a:bodyPr anchor="ctr"/>
          <a:lstStyle>
            <a:lvl1pPr marL="0" indent="0" algn="l">
              <a:buNone/>
              <a:defRPr sz="1275">
                <a:solidFill>
                  <a:srgbClr val="696A6D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505571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138786" y="4662607"/>
            <a:ext cx="792782" cy="274638"/>
          </a:xfrm>
        </p:spPr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013255" y="1604200"/>
            <a:ext cx="7133900" cy="3232554"/>
          </a:xfrm>
        </p:spPr>
        <p:txBody>
          <a:bodyPr/>
          <a:lstStyle>
            <a:lvl1pPr marL="102867" indent="-102867">
              <a:spcBef>
                <a:spcPts val="0"/>
              </a:spcBef>
              <a:spcAft>
                <a:spcPts val="450"/>
              </a:spcAft>
              <a:buSzPct val="125000"/>
              <a:buFont typeface="Wingdings" panose="05000000000000000000" pitchFamily="2" charset="2"/>
              <a:buChar char="§"/>
              <a:defRPr sz="900">
                <a:solidFill>
                  <a:srgbClr val="696A6D"/>
                </a:solidFill>
                <a:latin typeface="+mn-lt"/>
              </a:defRPr>
            </a:lvl1pPr>
            <a:lvl2pPr marL="240024" indent="-102867">
              <a:spcBef>
                <a:spcPts val="0"/>
              </a:spcBef>
              <a:spcAft>
                <a:spcPts val="450"/>
              </a:spcAft>
              <a:buSzPct val="125000"/>
              <a:buFont typeface="Wingdings" panose="05000000000000000000" pitchFamily="2" charset="2"/>
              <a:buChar char="§"/>
              <a:defRPr sz="900">
                <a:solidFill>
                  <a:srgbClr val="696A6D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450"/>
              </a:spcAft>
              <a:defRPr sz="900">
                <a:solidFill>
                  <a:srgbClr val="696A6D"/>
                </a:solidFill>
                <a:latin typeface="+mn-lt"/>
                <a:ea typeface="Franklin Gothic Medium" charset="0"/>
                <a:cs typeface="Franklin Gothic Medium" charset="0"/>
              </a:defRPr>
            </a:lvl3pPr>
            <a:lvl4pPr>
              <a:defRPr sz="9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4pPr>
            <a:lvl5pPr>
              <a:defRPr sz="9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3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7499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Imag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003301" y="1603298"/>
            <a:ext cx="3444947" cy="3196992"/>
          </a:xfrm>
        </p:spPr>
        <p:txBody>
          <a:bodyPr/>
          <a:lstStyle>
            <a:lvl1pPr marL="0" indent="0">
              <a:buFont typeface="Arial" charset="0"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95827" y="1602389"/>
            <a:ext cx="3421349" cy="3168992"/>
          </a:xfrm>
        </p:spPr>
        <p:txBody>
          <a:bodyPr/>
          <a:lstStyle>
            <a:lvl1pPr>
              <a:spcAft>
                <a:spcPts val="450"/>
              </a:spcAft>
              <a:defRPr>
                <a:latin typeface="+mn-lt"/>
              </a:defRPr>
            </a:lvl1pPr>
            <a:lvl2pPr>
              <a:spcAft>
                <a:spcPts val="450"/>
              </a:spcAft>
              <a:defRPr>
                <a:latin typeface="+mn-lt"/>
              </a:defRPr>
            </a:lvl2pPr>
            <a:lvl3pPr>
              <a:spcAft>
                <a:spcPts val="450"/>
              </a:spcAft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3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128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2 Copy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10653" y="1601326"/>
            <a:ext cx="3561348" cy="3231932"/>
          </a:xfrm>
        </p:spPr>
        <p:txBody>
          <a:bodyPr numCol="1" spcCol="18288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3" y="4326419"/>
            <a:ext cx="473920" cy="519352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578265" y="1603376"/>
            <a:ext cx="3576311" cy="3225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490229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138785" y="4662606"/>
            <a:ext cx="792782" cy="274638"/>
          </a:xfrm>
        </p:spPr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013254" y="1604200"/>
            <a:ext cx="7133900" cy="3232554"/>
          </a:xfrm>
        </p:spPr>
        <p:txBody>
          <a:bodyPr/>
          <a:lstStyle>
            <a:lvl1pPr marL="137160" indent="-137160">
              <a:spcBef>
                <a:spcPts val="0"/>
              </a:spcBef>
              <a:spcAft>
                <a:spcPts val="600"/>
              </a:spcAft>
              <a:buSzPct val="125000"/>
              <a:buFont typeface="Wingdings" panose="05000000000000000000" pitchFamily="2" charset="2"/>
              <a:buChar char="§"/>
              <a:defRPr sz="1200">
                <a:solidFill>
                  <a:srgbClr val="696A6D"/>
                </a:solidFill>
                <a:latin typeface="+mn-lt"/>
              </a:defRPr>
            </a:lvl1pPr>
            <a:lvl2pPr marL="320040" indent="-137160">
              <a:spcBef>
                <a:spcPts val="0"/>
              </a:spcBef>
              <a:spcAft>
                <a:spcPts val="600"/>
              </a:spcAft>
              <a:buSzPct val="125000"/>
              <a:buFont typeface="Wingdings" panose="05000000000000000000" pitchFamily="2" charset="2"/>
              <a:buChar char="§"/>
              <a:defRPr sz="1200">
                <a:solidFill>
                  <a:srgbClr val="696A6D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600"/>
              </a:spcAft>
              <a:defRPr sz="1200">
                <a:solidFill>
                  <a:srgbClr val="696A6D"/>
                </a:solidFill>
                <a:latin typeface="+mn-lt"/>
                <a:ea typeface="Franklin Gothic Medium" charset="0"/>
                <a:cs typeface="Franklin Gothic Medium" charset="0"/>
              </a:defRPr>
            </a:lvl3pPr>
            <a:lvl4pPr>
              <a:defRPr sz="12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4pPr>
            <a:lvl5pPr>
              <a:defRPr sz="12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1" y="4326418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1376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Image (More Spa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3233"/>
          <a:stretch/>
        </p:blipFill>
        <p:spPr>
          <a:xfrm>
            <a:off x="2" y="0"/>
            <a:ext cx="2447567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1003301" y="1601968"/>
            <a:ext cx="7158844" cy="334816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615202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1003301" y="1663201"/>
            <a:ext cx="7143854" cy="2825750"/>
          </a:xfrm>
        </p:spPr>
        <p:txBody>
          <a:bodyPr/>
          <a:lstStyle>
            <a:lvl1pPr marL="0" indent="0">
              <a:buFont typeface="Arial" charset="0"/>
              <a:buNone/>
              <a:defRPr/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3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8278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1011239" y="1663727"/>
            <a:ext cx="7113431" cy="295592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3" y="4326419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4082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32872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AF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5" y="1028700"/>
            <a:ext cx="4038600" cy="2331720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05325" y="1028700"/>
            <a:ext cx="4038600" cy="2331720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xfrm>
            <a:off x="219075" y="5036346"/>
            <a:ext cx="2133600" cy="1000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6C3F393-8725-41B1-B3EA-B9F272499FBB}" type="datetimeFigureOut">
              <a:rPr lang="en-US" smtClean="0"/>
              <a:t>4/24/19</a:t>
            </a:fld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768B773-0C14-4FDD-BE5C-6CC1AA9C203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4505325" y="3591426"/>
            <a:ext cx="4038600" cy="1209174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14327" y="3591426"/>
            <a:ext cx="4064635" cy="1209174"/>
          </a:xfrm>
        </p:spPr>
        <p:txBody>
          <a:bodyPr anchor="b" anchorCtr="0"/>
          <a:lstStyle>
            <a:lvl1pPr marL="62507" indent="-62507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1pPr>
            <a:lvl2pPr marL="257169" indent="-64292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2pPr>
            <a:lvl3pPr marL="451831" indent="-66078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3pPr>
            <a:lvl4pPr marL="645601" indent="-66971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4pPr>
            <a:lvl5pPr marL="834012" indent="-62507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49726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AF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5" y="1028700"/>
            <a:ext cx="3657600" cy="1028700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94480" y="1028700"/>
            <a:ext cx="4572000" cy="1028700"/>
          </a:xfrm>
        </p:spPr>
        <p:txBody>
          <a:bodyPr/>
          <a:lstStyle>
            <a:lvl1pPr>
              <a:defRPr sz="1125"/>
            </a:lvl1pPr>
            <a:lvl2pPr>
              <a:defRPr sz="900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xfrm>
            <a:off x="219075" y="5036346"/>
            <a:ext cx="2133600" cy="1000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6C3F393-8725-41B1-B3EA-B9F272499FBB}" type="datetimeFigureOut">
              <a:rPr lang="en-US" smtClean="0"/>
              <a:t>4/24/19</a:t>
            </a:fld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768B773-0C14-4FDD-BE5C-6CC1AA9C203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219075" y="4480560"/>
            <a:ext cx="8229600" cy="480060"/>
          </a:xfrm>
        </p:spPr>
        <p:txBody>
          <a:bodyPr anchor="b" anchorCtr="0"/>
          <a:lstStyle>
            <a:lvl1pPr marL="62507" indent="-62507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1pPr>
            <a:lvl2pPr marL="257169" indent="-64292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2pPr>
            <a:lvl3pPr marL="451831" indent="-66078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3pPr>
            <a:lvl4pPr marL="645601" indent="-66971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4pPr>
            <a:lvl5pPr marL="834012" indent="-62507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314325" y="2133124"/>
            <a:ext cx="3657600" cy="1028700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4094480" y="2133124"/>
            <a:ext cx="4572000" cy="1028700"/>
          </a:xfrm>
        </p:spPr>
        <p:txBody>
          <a:bodyPr/>
          <a:lstStyle>
            <a:lvl1pPr>
              <a:defRPr sz="1125"/>
            </a:lvl1pPr>
            <a:lvl2pPr>
              <a:defRPr sz="900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5"/>
          </p:nvPr>
        </p:nvSpPr>
        <p:spPr>
          <a:xfrm>
            <a:off x="314325" y="3237548"/>
            <a:ext cx="3657600" cy="1028700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6"/>
          </p:nvPr>
        </p:nvSpPr>
        <p:spPr>
          <a:xfrm>
            <a:off x="4094480" y="3237548"/>
            <a:ext cx="4572000" cy="1028700"/>
          </a:xfrm>
        </p:spPr>
        <p:txBody>
          <a:bodyPr/>
          <a:lstStyle>
            <a:lvl1pPr>
              <a:defRPr sz="1125"/>
            </a:lvl1pPr>
            <a:lvl2pPr>
              <a:defRPr sz="900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07798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AF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5" y="1028700"/>
            <a:ext cx="8229600" cy="1714500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16081" y="2812553"/>
            <a:ext cx="8229600" cy="1714500"/>
          </a:xfrm>
        </p:spPr>
        <p:txBody>
          <a:bodyPr/>
          <a:lstStyle>
            <a:lvl1pPr>
              <a:defRPr sz="1181"/>
            </a:lvl1pPr>
            <a:lvl2pPr>
              <a:defRPr sz="1013"/>
            </a:lvl2pPr>
            <a:lvl3pPr>
              <a:defRPr sz="844"/>
            </a:lvl3pPr>
            <a:lvl4pPr>
              <a:defRPr sz="760"/>
            </a:lvl4pPr>
            <a:lvl5pPr>
              <a:defRPr sz="760"/>
            </a:lvl5pPr>
            <a:lvl6pPr>
              <a:defRPr sz="760"/>
            </a:lvl6pPr>
            <a:lvl7pPr>
              <a:defRPr sz="760"/>
            </a:lvl7pPr>
            <a:lvl8pPr>
              <a:defRPr sz="760"/>
            </a:lvl8pPr>
            <a:lvl9pPr>
              <a:defRPr sz="7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xfrm>
            <a:off x="219075" y="5036346"/>
            <a:ext cx="2133600" cy="1000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6C3F393-8725-41B1-B3EA-B9F272499FBB}" type="datetimeFigureOut">
              <a:rPr lang="en-US" smtClean="0"/>
              <a:t>4/24/19</a:t>
            </a:fld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768B773-0C14-4FDD-BE5C-6CC1AA9C203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14325" y="4594860"/>
            <a:ext cx="8229600" cy="480060"/>
          </a:xfrm>
        </p:spPr>
        <p:txBody>
          <a:bodyPr anchor="b" anchorCtr="0"/>
          <a:lstStyle>
            <a:lvl1pPr marL="62507" indent="-62507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1pPr>
            <a:lvl2pPr marL="257169" indent="-64292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2pPr>
            <a:lvl3pPr marL="451831" indent="-66078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3pPr>
            <a:lvl4pPr marL="645601" indent="-66971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4pPr>
            <a:lvl5pPr marL="834012" indent="-62507">
              <a:lnSpc>
                <a:spcPct val="100000"/>
              </a:lnSpc>
              <a:spcBef>
                <a:spcPts val="0"/>
              </a:spcBef>
              <a:buClrTx/>
              <a:buSzPct val="75000"/>
              <a:buFont typeface="+mj-lt"/>
              <a:buAutoNum type="arabicPeriod"/>
              <a:defRPr sz="56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05925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9"/>
          <p:cNvSpPr>
            <a:spLocks noGrp="1"/>
          </p:cNvSpPr>
          <p:nvPr>
            <p:ph idx="1" hasCustomPrompt="1"/>
          </p:nvPr>
        </p:nvSpPr>
        <p:spPr bwMode="gray">
          <a:xfrm>
            <a:off x="457200" y="914400"/>
            <a:ext cx="8229600" cy="34290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/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381627" y="4354832"/>
            <a:ext cx="3305175" cy="192881"/>
          </a:xfrm>
        </p:spPr>
        <p:txBody>
          <a:bodyPr lIns="0" rIns="0" anchor="b" anchorCtr="0"/>
          <a:lstStyle>
            <a:lvl1pPr marL="0" indent="0" algn="r">
              <a:buNone/>
              <a:defRPr sz="4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ource: 8pt gray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s in Title Case</a:t>
            </a:r>
          </a:p>
        </p:txBody>
      </p:sp>
    </p:spTree>
    <p:extLst>
      <p:ext uri="{BB962C8B-B14F-4D97-AF65-F5344CB8AC3E}">
        <p14:creationId xmlns:p14="http://schemas.microsoft.com/office/powerpoint/2010/main" val="2394417757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5" y="1092995"/>
            <a:ext cx="4038600" cy="3394472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05325" y="1092995"/>
            <a:ext cx="4038600" cy="3394472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219075" y="5036346"/>
            <a:ext cx="2133600" cy="1000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9CDEB5-485E-4067-9BB8-FC437271D6D4}" type="datetime1">
              <a:rPr lang="en-US"/>
              <a:pPr>
                <a:defRPr/>
              </a:pPr>
              <a:t>4/24/19</a:t>
            </a:fld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FBB0F3-8F61-44F6-B2E8-F8E8CDB5454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10150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Imag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003300" y="1603297"/>
            <a:ext cx="3444947" cy="3196992"/>
          </a:xfrm>
        </p:spPr>
        <p:txBody>
          <a:bodyPr/>
          <a:lstStyle>
            <a:lvl1pPr marL="0" indent="0">
              <a:buFont typeface="Arial" charset="0"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95825" y="1602388"/>
            <a:ext cx="3421349" cy="3168992"/>
          </a:xfrm>
        </p:spPr>
        <p:txBody>
          <a:bodyPr/>
          <a:lstStyle>
            <a:lvl1pPr>
              <a:spcAft>
                <a:spcPts val="600"/>
              </a:spcAft>
              <a:defRPr>
                <a:latin typeface="+mn-lt"/>
              </a:defRPr>
            </a:lvl1pPr>
            <a:lvl2pPr>
              <a:spcAft>
                <a:spcPts val="600"/>
              </a:spcAft>
              <a:defRPr>
                <a:latin typeface="+mn-lt"/>
              </a:defRPr>
            </a:lvl2pPr>
            <a:lvl3pPr>
              <a:spcAft>
                <a:spcPts val="600"/>
              </a:spcAft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1" y="4326418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380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2 Copy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010653" y="1601325"/>
            <a:ext cx="3561348" cy="3231932"/>
          </a:xfrm>
        </p:spPr>
        <p:txBody>
          <a:bodyPr numCol="1" spcCol="18288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1" y="4326418"/>
            <a:ext cx="473920" cy="519352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578263" y="1603375"/>
            <a:ext cx="3576311" cy="3225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872849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Image (More Spa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3233"/>
          <a:stretch/>
        </p:blipFill>
        <p:spPr>
          <a:xfrm>
            <a:off x="0" y="0"/>
            <a:ext cx="2447567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1003300" y="1601966"/>
            <a:ext cx="7158844" cy="334816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314467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1003300" y="1663200"/>
            <a:ext cx="7143854" cy="2825750"/>
          </a:xfrm>
        </p:spPr>
        <p:txBody>
          <a:bodyPr/>
          <a:lstStyle>
            <a:lvl1pPr marL="0" indent="0">
              <a:buFont typeface="Arial" charset="0"/>
              <a:buNone/>
              <a:defRPr/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1" y="4326418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192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1011238" y="1663725"/>
            <a:ext cx="7113431" cy="295592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174"/>
          <a:stretch/>
        </p:blipFill>
        <p:spPr>
          <a:xfrm>
            <a:off x="8233621" y="4326418"/>
            <a:ext cx="473920" cy="5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641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DADBD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8623" y="1785856"/>
            <a:ext cx="5374265" cy="99344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2572" y="2860770"/>
            <a:ext cx="4790727" cy="467512"/>
          </a:xfrm>
        </p:spPr>
        <p:txBody>
          <a:bodyPr anchor="ctr"/>
          <a:lstStyle>
            <a:lvl1pPr marL="0" indent="0" algn="l">
              <a:buNone/>
              <a:defRPr sz="17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886" y="3984234"/>
            <a:ext cx="2499318" cy="581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612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4676" y="859399"/>
            <a:ext cx="7251049" cy="7356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07666" y="1601919"/>
            <a:ext cx="7241530" cy="3382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38785" y="4662606"/>
            <a:ext cx="792782" cy="27463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9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735" r:id="rId3"/>
    <p:sldLayoutId id="2147483748" r:id="rId4"/>
    <p:sldLayoutId id="2147483753" r:id="rId5"/>
    <p:sldLayoutId id="2147483749" r:id="rId6"/>
    <p:sldLayoutId id="2147483751" r:id="rId7"/>
    <p:sldLayoutId id="2147483752" r:id="rId8"/>
  </p:sldLayoutIdLst>
  <p:hf hdr="0" ftr="0" dt="0"/>
  <p:txStyles>
    <p:titleStyle>
      <a:lvl1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2100" kern="1200" spc="-30">
          <a:solidFill>
            <a:srgbClr val="B30838"/>
          </a:solidFill>
          <a:latin typeface="Franklin Gothic Medium" charset="0"/>
          <a:ea typeface="Franklin Gothic Medium" charset="0"/>
          <a:cs typeface="Franklin Gothic Medium" charset="0"/>
        </a:defRPr>
      </a:lvl1pPr>
      <a:lvl2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9pPr>
    </p:titleStyle>
    <p:bodyStyle>
      <a:lvl1pPr marL="137160" indent="-137160" algn="l" defTabSz="457200" rtl="0" fontAlgn="base"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Wingdings" panose="05000000000000000000" pitchFamily="2" charset="2"/>
        <a:buChar char="§"/>
        <a:defRPr sz="1200" kern="1200">
          <a:solidFill>
            <a:srgbClr val="696A6D"/>
          </a:solidFill>
          <a:latin typeface="+mn-lt"/>
          <a:ea typeface="Franklin Gothic Medium" charset="0"/>
          <a:cs typeface="Franklin Gothic Medium" charset="0"/>
        </a:defRPr>
      </a:lvl1pPr>
      <a:lvl2pPr marL="320040" indent="-137160" algn="l" defTabSz="457200" rtl="0" fontAlgn="base">
        <a:spcBef>
          <a:spcPts val="0"/>
        </a:spcBef>
        <a:spcAft>
          <a:spcPts val="600"/>
        </a:spcAft>
        <a:buClr>
          <a:srgbClr val="696A6D"/>
        </a:buClr>
        <a:buSzPct val="125000"/>
        <a:buFont typeface="Wingdings" panose="05000000000000000000" pitchFamily="2" charset="2"/>
        <a:buChar char="§"/>
        <a:defRPr sz="1200" kern="1200">
          <a:solidFill>
            <a:srgbClr val="696A6D"/>
          </a:solidFill>
          <a:latin typeface="+mn-lt"/>
          <a:ea typeface="Franklin Gothic Medium" charset="0"/>
          <a:cs typeface="Franklin Gothic Medium" charset="0"/>
        </a:defRPr>
      </a:lvl2pPr>
      <a:lvl3pPr marL="457200" indent="-137160" algn="l" defTabSz="457200" rtl="0" fontAlgn="base">
        <a:spcBef>
          <a:spcPts val="0"/>
        </a:spcBef>
        <a:spcAft>
          <a:spcPts val="600"/>
        </a:spcAft>
        <a:buFont typeface="AppleSymbols" charset="0"/>
        <a:buChar char="⎻"/>
        <a:defRPr sz="1200" kern="1200" baseline="0">
          <a:solidFill>
            <a:srgbClr val="696A6D"/>
          </a:solidFill>
          <a:latin typeface="+mn-lt"/>
          <a:ea typeface="Franklin Gothic Medium" charset="0"/>
          <a:cs typeface="Franklin Gothic Medium" charset="0"/>
        </a:defRPr>
      </a:lvl3pPr>
      <a:lvl4pPr marL="1539875" indent="-168275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1998663" indent="-169863" algn="l" defTabSz="457200" rtl="0" fontAlgn="base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4677" y="859400"/>
            <a:ext cx="7251049" cy="7356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07667" y="1601920"/>
            <a:ext cx="7241530" cy="3382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38785" y="4662606"/>
            <a:ext cx="792782" cy="27463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57189">
              <a:defRPr sz="900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563653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</p:sldLayoutIdLst>
  <p:hf hdr="0" ftr="0" dt="0"/>
  <p:txStyles>
    <p:titleStyle>
      <a:lvl1pPr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2100" kern="1200" spc="-30">
          <a:solidFill>
            <a:srgbClr val="B30838"/>
          </a:solidFill>
          <a:latin typeface="Franklin Gothic Medium" charset="0"/>
          <a:ea typeface="Franklin Gothic Medium" charset="0"/>
          <a:cs typeface="Franklin Gothic Medium" charset="0"/>
        </a:defRPr>
      </a:lvl1pPr>
      <a:lvl2pPr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457189"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6pPr>
      <a:lvl7pPr marL="914378"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7pPr>
      <a:lvl8pPr marL="1371566"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8pPr>
      <a:lvl9pPr marL="1828754" algn="l" defTabSz="457189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bg1"/>
          </a:solidFill>
          <a:latin typeface="Arial" charset="0"/>
          <a:ea typeface="Arial" charset="0"/>
          <a:cs typeface="Arial" charset="0"/>
        </a:defRPr>
      </a:lvl9pPr>
    </p:titleStyle>
    <p:bodyStyle>
      <a:lvl1pPr marL="137156" indent="-137156" algn="l" defTabSz="457189" rtl="0" fontAlgn="base"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Wingdings" panose="05000000000000000000" pitchFamily="2" charset="2"/>
        <a:buChar char="§"/>
        <a:defRPr sz="1200" kern="1200">
          <a:solidFill>
            <a:srgbClr val="696A6D"/>
          </a:solidFill>
          <a:latin typeface="+mn-lt"/>
          <a:ea typeface="Franklin Gothic Medium" charset="0"/>
          <a:cs typeface="Franklin Gothic Medium" charset="0"/>
        </a:defRPr>
      </a:lvl1pPr>
      <a:lvl2pPr marL="320032" indent="-137156" algn="l" defTabSz="457189" rtl="0" fontAlgn="base">
        <a:spcBef>
          <a:spcPts val="0"/>
        </a:spcBef>
        <a:spcAft>
          <a:spcPts val="600"/>
        </a:spcAft>
        <a:buClr>
          <a:srgbClr val="696A6D"/>
        </a:buClr>
        <a:buSzPct val="125000"/>
        <a:buFont typeface="Wingdings" panose="05000000000000000000" pitchFamily="2" charset="2"/>
        <a:buChar char="§"/>
        <a:defRPr sz="1200" kern="1200">
          <a:solidFill>
            <a:srgbClr val="696A6D"/>
          </a:solidFill>
          <a:latin typeface="+mn-lt"/>
          <a:ea typeface="Franklin Gothic Medium" charset="0"/>
          <a:cs typeface="Franklin Gothic Medium" charset="0"/>
        </a:defRPr>
      </a:lvl2pPr>
      <a:lvl3pPr marL="457189" indent="-137156" algn="l" defTabSz="457189" rtl="0" fontAlgn="base">
        <a:spcBef>
          <a:spcPts val="0"/>
        </a:spcBef>
        <a:spcAft>
          <a:spcPts val="600"/>
        </a:spcAft>
        <a:buFont typeface="AppleSymbols" charset="0"/>
        <a:buChar char="⎻"/>
        <a:defRPr sz="1200" kern="1200" baseline="0">
          <a:solidFill>
            <a:srgbClr val="696A6D"/>
          </a:solidFill>
          <a:latin typeface="+mn-lt"/>
          <a:ea typeface="Franklin Gothic Medium" charset="0"/>
          <a:cs typeface="Franklin Gothic Medium" charset="0"/>
        </a:defRPr>
      </a:lvl3pPr>
      <a:lvl4pPr marL="1539836" indent="-168271" algn="l" defTabSz="457189" rtl="0" fontAlgn="base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1998613" indent="-169859" algn="l" defTabSz="457189" rtl="0" fontAlgn="base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4677" y="859400"/>
            <a:ext cx="7251049" cy="7356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07667" y="1601921"/>
            <a:ext cx="7241530" cy="3382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38786" y="4662607"/>
            <a:ext cx="792782" cy="27463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342892">
              <a:defRPr sz="675">
                <a:solidFill>
                  <a:srgbClr val="696A6D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fld id="{4572941C-6974-BE4E-9E84-DF4E3BF99134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328991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</p:sldLayoutIdLst>
  <p:hf hdr="0" ftr="0" dt="0"/>
  <p:txStyles>
    <p:titleStyle>
      <a:lvl1pPr algn="l" defTabSz="342892" rtl="0" fontAlgn="base">
        <a:lnSpc>
          <a:spcPct val="90000"/>
        </a:lnSpc>
        <a:spcBef>
          <a:spcPct val="0"/>
        </a:spcBef>
        <a:spcAft>
          <a:spcPct val="0"/>
        </a:spcAft>
        <a:defRPr sz="1575" kern="1200" spc="-23">
          <a:solidFill>
            <a:srgbClr val="B30838"/>
          </a:solidFill>
          <a:latin typeface="Franklin Gothic Medium" charset="0"/>
          <a:ea typeface="Franklin Gothic Medium" charset="0"/>
          <a:cs typeface="Franklin Gothic Medium" charset="0"/>
        </a:defRPr>
      </a:lvl1pPr>
      <a:lvl2pPr algn="l" defTabSz="342892" rtl="0" fontAlgn="base">
        <a:lnSpc>
          <a:spcPct val="90000"/>
        </a:lnSpc>
        <a:spcBef>
          <a:spcPct val="0"/>
        </a:spcBef>
        <a:spcAft>
          <a:spcPct val="0"/>
        </a:spcAft>
        <a:defRPr sz="1575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algn="l" defTabSz="342892" rtl="0" fontAlgn="base">
        <a:lnSpc>
          <a:spcPct val="90000"/>
        </a:lnSpc>
        <a:spcBef>
          <a:spcPct val="0"/>
        </a:spcBef>
        <a:spcAft>
          <a:spcPct val="0"/>
        </a:spcAft>
        <a:defRPr sz="1575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algn="l" defTabSz="342892" rtl="0" fontAlgn="base">
        <a:lnSpc>
          <a:spcPct val="90000"/>
        </a:lnSpc>
        <a:spcBef>
          <a:spcPct val="0"/>
        </a:spcBef>
        <a:spcAft>
          <a:spcPct val="0"/>
        </a:spcAft>
        <a:defRPr sz="1575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algn="l" defTabSz="342892" rtl="0" fontAlgn="base">
        <a:lnSpc>
          <a:spcPct val="90000"/>
        </a:lnSpc>
        <a:spcBef>
          <a:spcPct val="0"/>
        </a:spcBef>
        <a:spcAft>
          <a:spcPct val="0"/>
        </a:spcAft>
        <a:defRPr sz="1575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342892" algn="l" defTabSz="342892" rtl="0" fontAlgn="base">
        <a:lnSpc>
          <a:spcPct val="90000"/>
        </a:lnSpc>
        <a:spcBef>
          <a:spcPct val="0"/>
        </a:spcBef>
        <a:spcAft>
          <a:spcPct val="0"/>
        </a:spcAft>
        <a:defRPr sz="1575">
          <a:solidFill>
            <a:schemeClr val="bg1"/>
          </a:solidFill>
          <a:latin typeface="Arial" charset="0"/>
          <a:ea typeface="Arial" charset="0"/>
          <a:cs typeface="Arial" charset="0"/>
        </a:defRPr>
      </a:lvl6pPr>
      <a:lvl7pPr marL="685784" algn="l" defTabSz="342892" rtl="0" fontAlgn="base">
        <a:lnSpc>
          <a:spcPct val="90000"/>
        </a:lnSpc>
        <a:spcBef>
          <a:spcPct val="0"/>
        </a:spcBef>
        <a:spcAft>
          <a:spcPct val="0"/>
        </a:spcAft>
        <a:defRPr sz="1575">
          <a:solidFill>
            <a:schemeClr val="bg1"/>
          </a:solidFill>
          <a:latin typeface="Arial" charset="0"/>
          <a:ea typeface="Arial" charset="0"/>
          <a:cs typeface="Arial" charset="0"/>
        </a:defRPr>
      </a:lvl7pPr>
      <a:lvl8pPr marL="1028675" algn="l" defTabSz="342892" rtl="0" fontAlgn="base">
        <a:lnSpc>
          <a:spcPct val="90000"/>
        </a:lnSpc>
        <a:spcBef>
          <a:spcPct val="0"/>
        </a:spcBef>
        <a:spcAft>
          <a:spcPct val="0"/>
        </a:spcAft>
        <a:defRPr sz="1575">
          <a:solidFill>
            <a:schemeClr val="bg1"/>
          </a:solidFill>
          <a:latin typeface="Arial" charset="0"/>
          <a:ea typeface="Arial" charset="0"/>
          <a:cs typeface="Arial" charset="0"/>
        </a:defRPr>
      </a:lvl8pPr>
      <a:lvl9pPr marL="1371566" algn="l" defTabSz="342892" rtl="0" fontAlgn="base">
        <a:lnSpc>
          <a:spcPct val="90000"/>
        </a:lnSpc>
        <a:spcBef>
          <a:spcPct val="0"/>
        </a:spcBef>
        <a:spcAft>
          <a:spcPct val="0"/>
        </a:spcAft>
        <a:defRPr sz="1575">
          <a:solidFill>
            <a:schemeClr val="bg1"/>
          </a:solidFill>
          <a:latin typeface="Arial" charset="0"/>
          <a:ea typeface="Arial" charset="0"/>
          <a:cs typeface="Arial" charset="0"/>
        </a:defRPr>
      </a:lvl9pPr>
    </p:titleStyle>
    <p:bodyStyle>
      <a:lvl1pPr marL="102867" indent="-102867" algn="l" defTabSz="342892" rtl="0" fontAlgn="base"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Wingdings" panose="05000000000000000000" pitchFamily="2" charset="2"/>
        <a:buChar char="§"/>
        <a:defRPr sz="900" kern="1200">
          <a:solidFill>
            <a:srgbClr val="696A6D"/>
          </a:solidFill>
          <a:latin typeface="+mn-lt"/>
          <a:ea typeface="Franklin Gothic Medium" charset="0"/>
          <a:cs typeface="Franklin Gothic Medium" charset="0"/>
        </a:defRPr>
      </a:lvl1pPr>
      <a:lvl2pPr marL="240024" indent="-102867" algn="l" defTabSz="342892" rtl="0" fontAlgn="base">
        <a:spcBef>
          <a:spcPts val="0"/>
        </a:spcBef>
        <a:spcAft>
          <a:spcPts val="450"/>
        </a:spcAft>
        <a:buClr>
          <a:srgbClr val="696A6D"/>
        </a:buClr>
        <a:buSzPct val="125000"/>
        <a:buFont typeface="Wingdings" panose="05000000000000000000" pitchFamily="2" charset="2"/>
        <a:buChar char="§"/>
        <a:defRPr sz="900" kern="1200">
          <a:solidFill>
            <a:srgbClr val="696A6D"/>
          </a:solidFill>
          <a:latin typeface="+mn-lt"/>
          <a:ea typeface="Franklin Gothic Medium" charset="0"/>
          <a:cs typeface="Franklin Gothic Medium" charset="0"/>
        </a:defRPr>
      </a:lvl2pPr>
      <a:lvl3pPr marL="342892" indent="-102867" algn="l" defTabSz="342892" rtl="0" fontAlgn="base">
        <a:spcBef>
          <a:spcPts val="0"/>
        </a:spcBef>
        <a:spcAft>
          <a:spcPts val="450"/>
        </a:spcAft>
        <a:buFont typeface="AppleSymbols" charset="0"/>
        <a:buChar char="⎻"/>
        <a:defRPr sz="900" kern="1200" baseline="0">
          <a:solidFill>
            <a:srgbClr val="696A6D"/>
          </a:solidFill>
          <a:latin typeface="+mn-lt"/>
          <a:ea typeface="Franklin Gothic Medium" charset="0"/>
          <a:cs typeface="Franklin Gothic Medium" charset="0"/>
        </a:defRPr>
      </a:lvl3pPr>
      <a:lvl4pPr marL="1154877" indent="-126203" algn="l" defTabSz="342892" rtl="0" fontAlgn="base">
        <a:spcBef>
          <a:spcPct val="20000"/>
        </a:spcBef>
        <a:spcAft>
          <a:spcPct val="0"/>
        </a:spcAft>
        <a:buFont typeface="Arial" charset="0"/>
        <a:buChar char="–"/>
        <a:defRPr sz="105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1498960" indent="-127394" algn="l" defTabSz="342892" rtl="0" fontAlgn="base">
        <a:spcBef>
          <a:spcPct val="20000"/>
        </a:spcBef>
        <a:spcAft>
          <a:spcPct val="0"/>
        </a:spcAft>
        <a:buFont typeface="Arial" charset="0"/>
        <a:buChar char="»"/>
        <a:defRPr sz="105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4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0.png"/><Relationship Id="rId4" Type="http://schemas.openxmlformats.org/officeDocument/2006/relationships/customXml" Target="../ink/ink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7" Type="http://schemas.openxmlformats.org/officeDocument/2006/relationships/image" Target="../media/image28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JPG"/><Relationship Id="rId5" Type="http://schemas.openxmlformats.org/officeDocument/2006/relationships/image" Target="../media/image26.JPG"/><Relationship Id="rId4" Type="http://schemas.openxmlformats.org/officeDocument/2006/relationships/image" Target="../media/image25.JP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35350" y="1125940"/>
            <a:ext cx="5374265" cy="547891"/>
          </a:xfrm>
        </p:spPr>
        <p:txBody>
          <a:bodyPr/>
          <a:lstStyle/>
          <a:p>
            <a:pPr eaLnBrk="1" hangingPunct="1"/>
            <a:r>
              <a:rPr lang="en-US" altLang="en-US" dirty="0"/>
              <a:t>Population Health for COPD </a:t>
            </a:r>
          </a:p>
        </p:txBody>
      </p:sp>
      <p:sp>
        <p:nvSpPr>
          <p:cNvPr id="614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46125" y="1999398"/>
            <a:ext cx="4790727" cy="933100"/>
          </a:xfrm>
        </p:spPr>
        <p:txBody>
          <a:bodyPr/>
          <a:lstStyle/>
          <a:p>
            <a:pPr eaLnBrk="1" hangingPunct="1"/>
            <a:r>
              <a:rPr lang="en-US" altLang="en-US" sz="1200" dirty="0"/>
              <a:t>Marc S. Rovner, MD, MMM, FCCP</a:t>
            </a:r>
          </a:p>
          <a:p>
            <a:pPr eaLnBrk="1" hangingPunct="1"/>
            <a:r>
              <a:rPr lang="en-US" altLang="en-US" sz="1100" i="1" dirty="0"/>
              <a:t>Assistant Professor of Clinical Medicine </a:t>
            </a:r>
          </a:p>
          <a:p>
            <a:pPr eaLnBrk="1" hangingPunct="1"/>
            <a:r>
              <a:rPr lang="en-US" altLang="en-US" sz="1100" i="1" dirty="0"/>
              <a:t>Directory of Pulmonary Rehabilitation</a:t>
            </a:r>
          </a:p>
          <a:p>
            <a:pPr eaLnBrk="1" hangingPunct="1"/>
            <a:r>
              <a:rPr lang="en-US" altLang="en-US" sz="1100" i="1" dirty="0"/>
              <a:t>Medical Director for Population Health - COPD</a:t>
            </a:r>
          </a:p>
          <a:p>
            <a:pPr eaLnBrk="1" hangingPunct="1"/>
            <a:r>
              <a:rPr lang="en-US" altLang="en-US" sz="1100" i="1" dirty="0"/>
              <a:t>Department of Pulmonary, Critical Care Medicine</a:t>
            </a:r>
          </a:p>
        </p:txBody>
      </p:sp>
    </p:spTree>
    <p:extLst>
      <p:ext uri="{BB962C8B-B14F-4D97-AF65-F5344CB8AC3E}">
        <p14:creationId xmlns:p14="http://schemas.microsoft.com/office/powerpoint/2010/main" val="962126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x Assessment of Severity – Why?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10</a:t>
            </a:fld>
            <a:endParaRPr lang="en-US" altLang="x-non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8982" y="1656932"/>
            <a:ext cx="5800407" cy="294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7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11</a:t>
            </a:fld>
            <a:endParaRPr lang="en-US" altLang="x-non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594" y="642117"/>
            <a:ext cx="5929460" cy="4020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9198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12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9606" y="1051466"/>
            <a:ext cx="7133900" cy="3232554"/>
          </a:xfrm>
        </p:spPr>
        <p:txBody>
          <a:bodyPr/>
          <a:lstStyle/>
          <a:p>
            <a:pPr marL="0" indent="0" algn="ctr">
              <a:buNone/>
            </a:pPr>
            <a:r>
              <a:rPr lang="en-US" sz="8000" b="1" i="1" dirty="0">
                <a:solidFill>
                  <a:schemeClr val="accent1"/>
                </a:solidFill>
              </a:rPr>
              <a:t>15    20</a:t>
            </a:r>
          </a:p>
          <a:p>
            <a:pPr marL="0" indent="0" algn="ctr">
              <a:buNone/>
            </a:pPr>
            <a:r>
              <a:rPr lang="en-US" sz="8000" b="1" i="1" dirty="0">
                <a:solidFill>
                  <a:schemeClr val="accent1"/>
                </a:solidFill>
              </a:rPr>
              <a:t>30   40</a:t>
            </a:r>
          </a:p>
        </p:txBody>
      </p:sp>
    </p:spTree>
    <p:extLst>
      <p:ext uri="{BB962C8B-B14F-4D97-AF65-F5344CB8AC3E}">
        <p14:creationId xmlns:p14="http://schemas.microsoft.com/office/powerpoint/2010/main" val="27688606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…much more to do for this patient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13</a:t>
            </a:fld>
            <a:endParaRPr lang="en-US" altLang="x-non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747" y="1603375"/>
            <a:ext cx="4011516" cy="334699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0200" y="1609471"/>
            <a:ext cx="4041998" cy="334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6235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14</a:t>
            </a:fld>
            <a:endParaRPr lang="en-US" altLang="x-non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87736" y="2150872"/>
            <a:ext cx="7251049" cy="735645"/>
          </a:xfrm>
        </p:spPr>
        <p:txBody>
          <a:bodyPr/>
          <a:lstStyle/>
          <a:p>
            <a:pPr algn="ctr"/>
            <a:r>
              <a:rPr lang="en-US" dirty="0"/>
              <a:t>The SCOPE of the Problem of COPD at Scal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4924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15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/>
              <a:t>USA</a:t>
            </a:r>
          </a:p>
          <a:p>
            <a:pPr marL="0" indent="0">
              <a:buNone/>
            </a:pPr>
            <a:endParaRPr lang="en-US" dirty="0"/>
          </a:p>
          <a:p>
            <a:pPr lvl="1"/>
            <a:r>
              <a:rPr lang="en-US" dirty="0"/>
              <a:t>65 million world wide, 20 million in USA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3</a:t>
            </a:r>
            <a:r>
              <a:rPr lang="en-US" baseline="30000" dirty="0"/>
              <a:t>rd</a:t>
            </a:r>
            <a:r>
              <a:rPr lang="en-US" dirty="0"/>
              <a:t> leading cause of death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50 billion in treatment costs per year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182880" lvl="1" indent="0">
              <a:buNone/>
            </a:pPr>
            <a:r>
              <a:rPr lang="en-US" dirty="0"/>
              <a:t>Source  - COPD Foundation</a:t>
            </a:r>
          </a:p>
          <a:p>
            <a:pPr marL="182880" lvl="1" indent="0">
              <a:buNone/>
            </a:pP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61067" y="1546120"/>
            <a:ext cx="3576311" cy="3225800"/>
          </a:xfrm>
        </p:spPr>
        <p:txBody>
          <a:bodyPr/>
          <a:lstStyle/>
          <a:p>
            <a:r>
              <a:rPr lang="en-US" sz="2400" dirty="0"/>
              <a:t>Indiana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7.7% of adults have COP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418,000  persons 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782 million in treatment costs</a:t>
            </a:r>
          </a:p>
          <a:p>
            <a:pPr lvl="1"/>
            <a:endParaRPr lang="en-US" dirty="0"/>
          </a:p>
          <a:p>
            <a:pPr marL="18288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0460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680519" y="245215"/>
            <a:ext cx="7251049" cy="735645"/>
          </a:xfrm>
        </p:spPr>
        <p:txBody>
          <a:bodyPr/>
          <a:lstStyle/>
          <a:p>
            <a:r>
              <a:rPr lang="en-US" i="1" dirty="0"/>
              <a:t>SCOPE - IUHP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86648E-21C2-4E4D-995E-31FFBD2E87B9}" type="slidenum">
              <a:rPr lang="x-none" altLang="x-none" smtClean="0"/>
              <a:pPr/>
              <a:t>16</a:t>
            </a:fld>
            <a:endParaRPr lang="en-US" altLang="x-none" dirty="0"/>
          </a:p>
        </p:txBody>
      </p:sp>
      <p:sp>
        <p:nvSpPr>
          <p:cNvPr id="7" name="Cloud 6"/>
          <p:cNvSpPr/>
          <p:nvPr/>
        </p:nvSpPr>
        <p:spPr>
          <a:xfrm rot="563412">
            <a:off x="244895" y="1260439"/>
            <a:ext cx="2514627" cy="1801148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2591" y="1671483"/>
            <a:ext cx="262521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IUHP</a:t>
            </a:r>
          </a:p>
          <a:p>
            <a:pPr algn="ctr"/>
            <a:r>
              <a:rPr lang="en-US" sz="2000" b="1" dirty="0"/>
              <a:t>Risk Population</a:t>
            </a:r>
          </a:p>
          <a:p>
            <a:pPr algn="ctr"/>
            <a:r>
              <a:rPr lang="en-US" sz="1200" b="1" dirty="0">
                <a:latin typeface="Arial Narrow" panose="020B0606020202030204" pitchFamily="34" charset="0"/>
              </a:rPr>
              <a:t>(n=27.0k)</a:t>
            </a:r>
          </a:p>
        </p:txBody>
      </p:sp>
    </p:spTree>
    <p:extLst>
      <p:ext uri="{BB962C8B-B14F-4D97-AF65-F5344CB8AC3E}">
        <p14:creationId xmlns:p14="http://schemas.microsoft.com/office/powerpoint/2010/main" val="17059135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424864" y="4664075"/>
            <a:ext cx="719137" cy="274638"/>
          </a:xfrm>
        </p:spPr>
        <p:txBody>
          <a:bodyPr/>
          <a:lstStyle/>
          <a:p>
            <a:fld id="{DA86648E-21C2-4E4D-995E-31FFBD2E87B9}" type="slidenum">
              <a:rPr lang="x-none" altLang="x-none" smtClean="0"/>
              <a:pPr/>
              <a:t>17</a:t>
            </a:fld>
            <a:endParaRPr lang="en-US" altLang="x-none" dirty="0"/>
          </a:p>
        </p:txBody>
      </p:sp>
      <p:sp>
        <p:nvSpPr>
          <p:cNvPr id="7" name="Cloud 6"/>
          <p:cNvSpPr/>
          <p:nvPr/>
        </p:nvSpPr>
        <p:spPr>
          <a:xfrm rot="563412">
            <a:off x="244895" y="1260439"/>
            <a:ext cx="2514627" cy="1801148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2591" y="1671484"/>
            <a:ext cx="26252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IUHP</a:t>
            </a:r>
          </a:p>
          <a:p>
            <a:pPr algn="ctr"/>
            <a:r>
              <a:rPr lang="en-US" sz="2000" b="1" dirty="0"/>
              <a:t>Risk Population</a:t>
            </a:r>
          </a:p>
          <a:p>
            <a:pPr lvl="0" algn="ctr"/>
            <a:r>
              <a:rPr lang="en-US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(n=27.0k)</a:t>
            </a:r>
          </a:p>
          <a:p>
            <a:pPr algn="ctr"/>
            <a:endParaRPr lang="en-US" sz="2000" b="1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797804" y="2035278"/>
            <a:ext cx="68281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" name="Oval 1"/>
          <p:cNvSpPr/>
          <p:nvPr/>
        </p:nvSpPr>
        <p:spPr>
          <a:xfrm>
            <a:off x="3608439" y="1118421"/>
            <a:ext cx="2389237" cy="1833716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49856" y="1671483"/>
            <a:ext cx="157316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High</a:t>
            </a:r>
          </a:p>
          <a:p>
            <a:r>
              <a:rPr lang="en-US" sz="2000" b="1" dirty="0"/>
              <a:t>Risk</a:t>
            </a:r>
          </a:p>
          <a:p>
            <a:r>
              <a:rPr lang="en-US" sz="1200" b="1" dirty="0">
                <a:latin typeface="Arial Narrow" panose="020B0606020202030204" pitchFamily="34" charset="0"/>
              </a:rPr>
              <a:t>(n=830)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480619" y="3106564"/>
            <a:ext cx="16460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7" indent="-114297">
              <a:buFont typeface="Arial" panose="020B0604020202020204" pitchFamily="34" charset="0"/>
              <a:buChar char="•"/>
            </a:pPr>
            <a:r>
              <a:rPr lang="en-US" dirty="0"/>
              <a:t>ER Utilization</a:t>
            </a:r>
          </a:p>
          <a:p>
            <a:pPr marL="114297" indent="-114297">
              <a:buFont typeface="Arial" panose="020B0604020202020204" pitchFamily="34" charset="0"/>
              <a:buChar char="•"/>
            </a:pPr>
            <a:r>
              <a:rPr lang="en-US" dirty="0"/>
              <a:t>MARA Scores</a:t>
            </a: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>
          <a:xfrm>
            <a:off x="1680519" y="245215"/>
            <a:ext cx="7251049" cy="735645"/>
          </a:xfrm>
        </p:spPr>
        <p:txBody>
          <a:bodyPr/>
          <a:lstStyle/>
          <a:p>
            <a:r>
              <a:rPr lang="en-US" i="1" dirty="0"/>
              <a:t>SCOPE - IUH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81D8AAD-40B9-5E4D-81B1-97FA20DF50F5}"/>
              </a:ext>
            </a:extLst>
          </p:cNvPr>
          <p:cNvSpPr txBox="1"/>
          <p:nvPr/>
        </p:nvSpPr>
        <p:spPr>
          <a:xfrm>
            <a:off x="483475" y="4664075"/>
            <a:ext cx="25042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/>
              <a:t>MARA - Milliman Advanced Risk Adjustment </a:t>
            </a:r>
          </a:p>
        </p:txBody>
      </p:sp>
    </p:spTree>
    <p:extLst>
      <p:ext uri="{BB962C8B-B14F-4D97-AF65-F5344CB8AC3E}">
        <p14:creationId xmlns:p14="http://schemas.microsoft.com/office/powerpoint/2010/main" val="40167836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424864" y="4664075"/>
            <a:ext cx="719137" cy="274638"/>
          </a:xfrm>
        </p:spPr>
        <p:txBody>
          <a:bodyPr/>
          <a:lstStyle/>
          <a:p>
            <a:fld id="{DA86648E-21C2-4E4D-995E-31FFBD2E87B9}" type="slidenum">
              <a:rPr lang="x-none" altLang="x-none" smtClean="0"/>
              <a:pPr/>
              <a:t>18</a:t>
            </a:fld>
            <a:endParaRPr lang="en-US" altLang="x-none" dirty="0"/>
          </a:p>
        </p:txBody>
      </p:sp>
      <p:sp>
        <p:nvSpPr>
          <p:cNvPr id="7" name="Cloud 6"/>
          <p:cNvSpPr/>
          <p:nvPr/>
        </p:nvSpPr>
        <p:spPr>
          <a:xfrm rot="563412">
            <a:off x="244895" y="1260439"/>
            <a:ext cx="2514627" cy="1801148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2591" y="1671484"/>
            <a:ext cx="26252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IUHP</a:t>
            </a:r>
          </a:p>
          <a:p>
            <a:pPr algn="ctr"/>
            <a:r>
              <a:rPr lang="en-US" sz="2000" b="1" dirty="0"/>
              <a:t>Risk Population</a:t>
            </a:r>
          </a:p>
          <a:p>
            <a:pPr lvl="0" algn="ctr"/>
            <a:r>
              <a:rPr lang="en-US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(n=27.0k)</a:t>
            </a:r>
          </a:p>
          <a:p>
            <a:pPr algn="ctr"/>
            <a:endParaRPr lang="en-US" sz="2000" b="1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797804" y="2035278"/>
            <a:ext cx="68281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" name="Oval 1"/>
          <p:cNvSpPr/>
          <p:nvPr/>
        </p:nvSpPr>
        <p:spPr>
          <a:xfrm>
            <a:off x="3608439" y="1118421"/>
            <a:ext cx="2389237" cy="1833716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49856" y="1671484"/>
            <a:ext cx="15731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High</a:t>
            </a:r>
          </a:p>
          <a:p>
            <a:r>
              <a:rPr lang="en-US" sz="2000" b="1" dirty="0"/>
              <a:t>Risk</a:t>
            </a:r>
          </a:p>
          <a:p>
            <a:pPr lvl="0"/>
            <a:r>
              <a:rPr lang="en-US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(n=830) </a:t>
            </a:r>
          </a:p>
          <a:p>
            <a:r>
              <a:rPr lang="en-US" sz="2000" b="1" dirty="0"/>
              <a:t> </a:t>
            </a:r>
          </a:p>
        </p:txBody>
      </p:sp>
      <p:sp>
        <p:nvSpPr>
          <p:cNvPr id="14" name="Oval 13"/>
          <p:cNvSpPr/>
          <p:nvPr/>
        </p:nvSpPr>
        <p:spPr>
          <a:xfrm>
            <a:off x="4522839" y="1118421"/>
            <a:ext cx="2389237" cy="1833716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309419" y="1835224"/>
            <a:ext cx="15731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/>
              <a:t>COPD</a:t>
            </a:r>
          </a:p>
          <a:p>
            <a:pPr lvl="0" algn="r"/>
            <a:r>
              <a:rPr lang="en-US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(3.1k)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480619" y="3106564"/>
            <a:ext cx="16460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7" indent="-114297">
              <a:buFont typeface="Arial" panose="020B0604020202020204" pitchFamily="34" charset="0"/>
              <a:buChar char="•"/>
            </a:pPr>
            <a:r>
              <a:rPr lang="en-US" dirty="0"/>
              <a:t>ER Utilization</a:t>
            </a:r>
          </a:p>
          <a:p>
            <a:pPr marL="114297" indent="-114297">
              <a:buFont typeface="Arial" panose="020B0604020202020204" pitchFamily="34" charset="0"/>
              <a:buChar char="•"/>
            </a:pPr>
            <a:r>
              <a:rPr lang="en-US" dirty="0"/>
              <a:t>MARA Scor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717677" y="3106563"/>
            <a:ext cx="22627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7" indent="-114297">
              <a:buFont typeface="Arial" panose="020B0604020202020204" pitchFamily="34" charset="0"/>
              <a:buChar char="•"/>
            </a:pPr>
            <a:r>
              <a:rPr lang="en-US" dirty="0"/>
              <a:t>Claims Dx Algorithm</a:t>
            </a:r>
          </a:p>
          <a:p>
            <a:pPr marL="114297" indent="-114297">
              <a:buFont typeface="Arial" panose="020B0604020202020204" pitchFamily="34" charset="0"/>
              <a:buChar char="•"/>
            </a:pPr>
            <a:r>
              <a:rPr lang="en-US" dirty="0"/>
              <a:t>Pharmacy Claims</a:t>
            </a:r>
          </a:p>
          <a:p>
            <a:pPr marL="114297" indent="-114297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>
          <a:xfrm>
            <a:off x="1680519" y="245215"/>
            <a:ext cx="7251049" cy="735645"/>
          </a:xfrm>
        </p:spPr>
        <p:txBody>
          <a:bodyPr/>
          <a:lstStyle/>
          <a:p>
            <a:r>
              <a:rPr lang="en-US" i="1" dirty="0"/>
              <a:t>SCOPE - IUHP</a:t>
            </a:r>
          </a:p>
        </p:txBody>
      </p:sp>
    </p:spTree>
    <p:extLst>
      <p:ext uri="{BB962C8B-B14F-4D97-AF65-F5344CB8AC3E}">
        <p14:creationId xmlns:p14="http://schemas.microsoft.com/office/powerpoint/2010/main" val="37572016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424864" y="4664075"/>
            <a:ext cx="719137" cy="274638"/>
          </a:xfrm>
        </p:spPr>
        <p:txBody>
          <a:bodyPr/>
          <a:lstStyle/>
          <a:p>
            <a:fld id="{DA86648E-21C2-4E4D-995E-31FFBD2E87B9}" type="slidenum">
              <a:rPr lang="x-none" altLang="x-none" smtClean="0"/>
              <a:pPr/>
              <a:t>19</a:t>
            </a:fld>
            <a:endParaRPr lang="en-US" altLang="x-none" dirty="0"/>
          </a:p>
        </p:txBody>
      </p:sp>
      <p:sp>
        <p:nvSpPr>
          <p:cNvPr id="7" name="Cloud 6"/>
          <p:cNvSpPr/>
          <p:nvPr/>
        </p:nvSpPr>
        <p:spPr>
          <a:xfrm rot="563412">
            <a:off x="244895" y="1260439"/>
            <a:ext cx="2514627" cy="1801148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2591" y="1671484"/>
            <a:ext cx="26252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IUHP</a:t>
            </a:r>
          </a:p>
          <a:p>
            <a:pPr algn="ctr"/>
            <a:r>
              <a:rPr lang="en-US" sz="2000" b="1" dirty="0"/>
              <a:t>Risk Population</a:t>
            </a:r>
          </a:p>
          <a:p>
            <a:pPr lvl="0" algn="ctr"/>
            <a:r>
              <a:rPr lang="en-US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(n=27.0k)</a:t>
            </a:r>
          </a:p>
          <a:p>
            <a:pPr algn="ctr"/>
            <a:endParaRPr lang="en-US" sz="2000" b="1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797804" y="2035278"/>
            <a:ext cx="68281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" name="Oval 1"/>
          <p:cNvSpPr/>
          <p:nvPr/>
        </p:nvSpPr>
        <p:spPr>
          <a:xfrm>
            <a:off x="3608439" y="1118421"/>
            <a:ext cx="2389237" cy="1833716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49856" y="1671483"/>
            <a:ext cx="157316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High</a:t>
            </a:r>
          </a:p>
          <a:p>
            <a:r>
              <a:rPr lang="en-US" sz="2000" b="1" dirty="0"/>
              <a:t>Risk</a:t>
            </a:r>
          </a:p>
          <a:p>
            <a:pPr lvl="0"/>
            <a:r>
              <a:rPr lang="en-US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(n=830) </a:t>
            </a:r>
          </a:p>
        </p:txBody>
      </p:sp>
      <p:sp>
        <p:nvSpPr>
          <p:cNvPr id="14" name="Oval 13"/>
          <p:cNvSpPr/>
          <p:nvPr/>
        </p:nvSpPr>
        <p:spPr>
          <a:xfrm>
            <a:off x="4522839" y="1118421"/>
            <a:ext cx="2389237" cy="1833716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309419" y="1835224"/>
            <a:ext cx="15731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2000" b="1" dirty="0">
                <a:solidFill>
                  <a:prstClr val="black"/>
                </a:solidFill>
              </a:rPr>
              <a:t>COPD</a:t>
            </a:r>
          </a:p>
          <a:p>
            <a:pPr lvl="0" algn="r"/>
            <a:r>
              <a:rPr lang="en-US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(n=3.1k)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480619" y="3106564"/>
            <a:ext cx="16460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7" indent="-114297">
              <a:buFont typeface="Arial" panose="020B0604020202020204" pitchFamily="34" charset="0"/>
              <a:buChar char="•"/>
            </a:pPr>
            <a:r>
              <a:rPr lang="en-US" dirty="0"/>
              <a:t>ER Utilization</a:t>
            </a:r>
          </a:p>
          <a:p>
            <a:pPr marL="114297" indent="-114297">
              <a:buFont typeface="Arial" panose="020B0604020202020204" pitchFamily="34" charset="0"/>
              <a:buChar char="•"/>
            </a:pPr>
            <a:r>
              <a:rPr lang="en-US" dirty="0"/>
              <a:t>MARA Scor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717677" y="3106564"/>
            <a:ext cx="22627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7" indent="-114297">
              <a:buFont typeface="Arial" panose="020B0604020202020204" pitchFamily="34" charset="0"/>
              <a:buChar char="•"/>
            </a:pPr>
            <a:r>
              <a:rPr lang="en-US" dirty="0"/>
              <a:t>Claims Dx Algorithm</a:t>
            </a:r>
          </a:p>
          <a:p>
            <a:pPr marL="114297" indent="-114297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522839" y="1619779"/>
            <a:ext cx="14748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COPD</a:t>
            </a:r>
          </a:p>
          <a:p>
            <a:pPr algn="ctr"/>
            <a:r>
              <a:rPr lang="en-US" sz="1600" b="1" dirty="0"/>
              <a:t>Priority List</a:t>
            </a:r>
          </a:p>
          <a:p>
            <a:pPr algn="ctr"/>
            <a:r>
              <a:rPr lang="en-US" sz="1600" b="1" dirty="0"/>
              <a:t>(n=430)</a:t>
            </a: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>
          <a:xfrm>
            <a:off x="1680519" y="245215"/>
            <a:ext cx="7251049" cy="735645"/>
          </a:xfrm>
        </p:spPr>
        <p:txBody>
          <a:bodyPr/>
          <a:lstStyle/>
          <a:p>
            <a:pPr algn="r"/>
            <a:r>
              <a:rPr lang="en-US" i="1" dirty="0"/>
              <a:t>Venn Diagram Prioritizes n=430 members</a:t>
            </a:r>
            <a:br>
              <a:rPr lang="en-US" i="1" dirty="0"/>
            </a:br>
            <a:r>
              <a:rPr lang="en-US" i="1" dirty="0"/>
              <a:t>for COPD Complex Care Management</a:t>
            </a:r>
          </a:p>
        </p:txBody>
      </p:sp>
    </p:spTree>
    <p:extLst>
      <p:ext uri="{BB962C8B-B14F-4D97-AF65-F5344CB8AC3E}">
        <p14:creationId xmlns:p14="http://schemas.microsoft.com/office/powerpoint/2010/main" val="39733218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9606" y="1051466"/>
            <a:ext cx="7133900" cy="3232554"/>
          </a:xfrm>
        </p:spPr>
        <p:txBody>
          <a:bodyPr/>
          <a:lstStyle/>
          <a:p>
            <a:pPr marL="0" indent="0" algn="ctr">
              <a:buNone/>
            </a:pPr>
            <a:r>
              <a:rPr lang="en-US" sz="8000" b="1" i="1" dirty="0">
                <a:solidFill>
                  <a:schemeClr val="accent1"/>
                </a:solidFill>
              </a:rPr>
              <a:t>15    20</a:t>
            </a:r>
          </a:p>
          <a:p>
            <a:pPr marL="0" indent="0" algn="ctr">
              <a:buNone/>
            </a:pPr>
            <a:r>
              <a:rPr lang="en-US" sz="8000" b="1" i="1" dirty="0">
                <a:solidFill>
                  <a:schemeClr val="accent1"/>
                </a:solidFill>
              </a:rPr>
              <a:t>30   40</a:t>
            </a:r>
          </a:p>
        </p:txBody>
      </p:sp>
    </p:spTree>
    <p:extLst>
      <p:ext uri="{BB962C8B-B14F-4D97-AF65-F5344CB8AC3E}">
        <p14:creationId xmlns:p14="http://schemas.microsoft.com/office/powerpoint/2010/main" val="33972924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There is still so much more to do for THESE patients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0</a:t>
            </a:fld>
            <a:endParaRPr lang="en-US" altLang="x-non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747" y="1603375"/>
            <a:ext cx="4011516" cy="334699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0200" y="1609471"/>
            <a:ext cx="4041998" cy="334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1314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1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9606" y="1051466"/>
            <a:ext cx="7133900" cy="3232554"/>
          </a:xfrm>
        </p:spPr>
        <p:txBody>
          <a:bodyPr/>
          <a:lstStyle/>
          <a:p>
            <a:pPr marL="0" indent="0" algn="ctr">
              <a:buNone/>
            </a:pPr>
            <a:r>
              <a:rPr lang="en-US" sz="8000" b="1" i="1" dirty="0">
                <a:solidFill>
                  <a:schemeClr val="accent1"/>
                </a:solidFill>
              </a:rPr>
              <a:t>15    20</a:t>
            </a:r>
          </a:p>
          <a:p>
            <a:pPr marL="0" indent="0" algn="ctr">
              <a:buNone/>
            </a:pPr>
            <a:r>
              <a:rPr lang="en-US" sz="8000" b="1" i="1" dirty="0">
                <a:solidFill>
                  <a:schemeClr val="accent1"/>
                </a:solidFill>
              </a:rPr>
              <a:t>30   40</a:t>
            </a:r>
          </a:p>
        </p:txBody>
      </p:sp>
    </p:spTree>
    <p:extLst>
      <p:ext uri="{BB962C8B-B14F-4D97-AF65-F5344CB8AC3E}">
        <p14:creationId xmlns:p14="http://schemas.microsoft.com/office/powerpoint/2010/main" val="33397993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736" y="2198005"/>
            <a:ext cx="7251049" cy="735645"/>
          </a:xfrm>
        </p:spPr>
        <p:txBody>
          <a:bodyPr/>
          <a:lstStyle/>
          <a:p>
            <a:pPr algn="ctr"/>
            <a:r>
              <a:rPr lang="en-US" dirty="0"/>
              <a:t>That’s “why” Population Health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2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25040775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113" y="2282846"/>
            <a:ext cx="8041063" cy="735645"/>
          </a:xfrm>
        </p:spPr>
        <p:txBody>
          <a:bodyPr/>
          <a:lstStyle/>
          <a:p>
            <a:pPr algn="ctr"/>
            <a:r>
              <a:rPr lang="en-US" dirty="0"/>
              <a:t> Our Vision for the unique role for Pulmonary Rehab </a:t>
            </a:r>
            <a:br>
              <a:rPr lang="en-US" dirty="0"/>
            </a:br>
            <a:r>
              <a:rPr lang="en-US" dirty="0"/>
              <a:t>and Pop Health for COPD…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3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7473024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106870-1EDE-2A40-9ADA-DE06AECCA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5022" y="2203927"/>
            <a:ext cx="7251049" cy="735645"/>
          </a:xfrm>
        </p:spPr>
        <p:txBody>
          <a:bodyPr/>
          <a:lstStyle/>
          <a:p>
            <a:r>
              <a:rPr lang="en-US" dirty="0"/>
              <a:t>COPD Population Health Program Ma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2E7D51-0929-9C43-B858-CDD2F2492B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4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3450244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5</a:t>
            </a:fld>
            <a:endParaRPr lang="en-US" altLang="x-non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2C2932-10CB-3449-9CEF-BD11C18E3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0"/>
            <a:ext cx="497495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6839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nterven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72941C-6974-BE4E-9E84-DF4E3BF99134}" type="slidenum">
              <a:rPr kumimoji="0" lang="en-US" altLang="x-none" sz="900" b="0" i="0" u="none" strike="noStrike" kern="1200" cap="none" spc="0" normalizeH="0" baseline="0" noProof="0" smtClean="0">
                <a:ln>
                  <a:noFill/>
                </a:ln>
                <a:solidFill>
                  <a:srgbClr val="696A6D"/>
                </a:solidFill>
                <a:effectLst/>
                <a:uLnTx/>
                <a:uFillTx/>
                <a:latin typeface="Franklin Gothic Medium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x-none" sz="900" b="0" i="0" u="none" strike="noStrike" kern="1200" cap="none" spc="0" normalizeH="0" baseline="0" noProof="0" dirty="0">
              <a:ln>
                <a:noFill/>
              </a:ln>
              <a:solidFill>
                <a:srgbClr val="696A6D"/>
              </a:solidFill>
              <a:effectLst/>
              <a:uLnTx/>
              <a:uFillTx/>
              <a:latin typeface="Franklin Gothic Medium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Access to pulmonary rehabilitation  </a:t>
            </a:r>
          </a:p>
          <a:p>
            <a:r>
              <a:rPr lang="en-US" sz="1800" dirty="0">
                <a:solidFill>
                  <a:schemeClr val="tx1"/>
                </a:solidFill>
              </a:rPr>
              <a:t>Access to smoking cessation program</a:t>
            </a:r>
          </a:p>
          <a:p>
            <a:r>
              <a:rPr lang="en-US" sz="1800" dirty="0">
                <a:solidFill>
                  <a:schemeClr val="tx1"/>
                </a:solidFill>
              </a:rPr>
              <a:t>Medication plan consistent with GOLD recommendations</a:t>
            </a:r>
          </a:p>
          <a:p>
            <a:r>
              <a:rPr lang="en-US" sz="1800" dirty="0">
                <a:solidFill>
                  <a:schemeClr val="tx1"/>
                </a:solidFill>
              </a:rPr>
              <a:t>Education of and documented competence in inhaler techniques</a:t>
            </a:r>
          </a:p>
          <a:p>
            <a:r>
              <a:rPr lang="en-US" sz="1800" dirty="0">
                <a:solidFill>
                  <a:schemeClr val="tx1"/>
                </a:solidFill>
              </a:rPr>
              <a:t>Influenza and pneumonia vaccinations</a:t>
            </a:r>
          </a:p>
          <a:p>
            <a:r>
              <a:rPr lang="en-US" sz="1800" dirty="0">
                <a:solidFill>
                  <a:schemeClr val="tx1"/>
                </a:solidFill>
              </a:rPr>
              <a:t>Transportation</a:t>
            </a:r>
          </a:p>
          <a:p>
            <a:r>
              <a:rPr lang="en-US" sz="1800" dirty="0">
                <a:solidFill>
                  <a:schemeClr val="tx1"/>
                </a:solidFill>
              </a:rPr>
              <a:t>Meds at discharge</a:t>
            </a:r>
          </a:p>
          <a:p>
            <a:r>
              <a:rPr lang="en-US" sz="1800" dirty="0">
                <a:solidFill>
                  <a:schemeClr val="tx1"/>
                </a:solidFill>
              </a:rPr>
              <a:t>COPD triage RN</a:t>
            </a:r>
          </a:p>
          <a:p>
            <a:r>
              <a:rPr lang="en-US" sz="1800" dirty="0">
                <a:solidFill>
                  <a:schemeClr val="tx1"/>
                </a:solidFill>
              </a:rPr>
              <a:t>Interventions for SDH (Cost, EOC, </a:t>
            </a:r>
            <a:r>
              <a:rPr lang="en-US" sz="1800" dirty="0" err="1">
                <a:solidFill>
                  <a:schemeClr val="tx1"/>
                </a:solidFill>
              </a:rPr>
              <a:t>etc</a:t>
            </a:r>
            <a:r>
              <a:rPr lang="en-US" sz="1800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1925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26C128-BC13-AC49-8F9D-7DEACB5DDD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7</a:t>
            </a:fld>
            <a:endParaRPr lang="en-US" altLang="x-non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69146E-E521-C140-AFB5-DDDD5ED447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420" y="846754"/>
            <a:ext cx="6073160" cy="36436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89D322F-8017-7944-9BF7-3AA63011AA4A}"/>
              </a:ext>
            </a:extLst>
          </p:cNvPr>
          <p:cNvSpPr txBox="1"/>
          <p:nvPr/>
        </p:nvSpPr>
        <p:spPr>
          <a:xfrm>
            <a:off x="1535420" y="314683"/>
            <a:ext cx="53225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1"/>
                </a:solidFill>
              </a:rPr>
              <a:t> For COPD but can use same model for other ASC</a:t>
            </a:r>
            <a:r>
              <a:rPr lang="en-US" dirty="0">
                <a:solidFill>
                  <a:schemeClr val="accent1"/>
                </a:solidFill>
              </a:rPr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26470084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0290A-40F1-4C45-AFAB-3C8F5520D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475" y="2130260"/>
            <a:ext cx="7251049" cy="735645"/>
          </a:xfrm>
        </p:spPr>
        <p:txBody>
          <a:bodyPr/>
          <a:lstStyle/>
          <a:p>
            <a:pPr algn="ctr"/>
            <a:r>
              <a:rPr lang="en-US" dirty="0"/>
              <a:t>It starts with Pulmonary Rehabilitation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33B084-6D1B-AC42-9D56-C83C468EBD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8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8060269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29</a:t>
            </a:fld>
            <a:endParaRPr lang="en-US" altLang="x-non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2C2932-10CB-3449-9CEF-BD11C18E3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0"/>
            <a:ext cx="4974956" cy="51435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504B2158-9FB8-934F-AFAF-69CB9BDF9E94}"/>
                  </a:ext>
                </a:extLst>
              </p14:cNvPr>
              <p14:cNvContentPartPr/>
              <p14:nvPr/>
            </p14:nvContentPartPr>
            <p14:xfrm>
              <a:off x="2071121" y="2319828"/>
              <a:ext cx="1351440" cy="2854080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504B2158-9FB8-934F-AFAF-69CB9BDF9E94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062481" y="2311188"/>
                <a:ext cx="1369080" cy="28717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33731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1682" y="1314572"/>
            <a:ext cx="7251049" cy="796835"/>
          </a:xfrm>
        </p:spPr>
        <p:txBody>
          <a:bodyPr/>
          <a:lstStyle/>
          <a:p>
            <a:br>
              <a:rPr lang="en-US" sz="7200" dirty="0"/>
            </a:br>
            <a:r>
              <a:rPr lang="en-US" sz="4800" i="1" dirty="0"/>
              <a:t>New Patien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6648E-21C2-4E4D-995E-31FFBD2E87B9}" type="slidenum">
              <a:rPr lang="x-none" altLang="x-none" smtClean="0"/>
              <a:pPr/>
              <a:t>3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38500138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52F216-2E19-724D-A261-FF97BF1F6D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30</a:t>
            </a:fld>
            <a:endParaRPr lang="en-US" altLang="x-non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D278247-CD0D-6540-927E-2BDF9BD04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8414" y="0"/>
            <a:ext cx="186033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701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ge 18..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31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63250" y="1550591"/>
            <a:ext cx="7133900" cy="3232554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2FFD37-F70D-784D-80AB-DEB9382725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200" y="1991852"/>
            <a:ext cx="6350000" cy="17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507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ge 18..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32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63250" y="1550591"/>
            <a:ext cx="7133900" cy="3232554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2FFD37-F70D-784D-80AB-DEB9382725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200" y="1991852"/>
            <a:ext cx="6350000" cy="177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75C23BBE-354E-4640-9E17-8D64A69D9D27}"/>
                  </a:ext>
                </a:extLst>
              </p14:cNvPr>
              <p14:cNvContentPartPr/>
              <p14:nvPr/>
            </p14:nvContentPartPr>
            <p14:xfrm>
              <a:off x="4842177" y="3134740"/>
              <a:ext cx="1229040" cy="27972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75C23BBE-354E-4640-9E17-8D64A69D9D27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833537" y="3126100"/>
                <a:ext cx="1246680" cy="2973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932619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0A4D38-94C9-1A40-A08D-38565266F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54" y="550076"/>
            <a:ext cx="7251049" cy="735645"/>
          </a:xfrm>
        </p:spPr>
        <p:txBody>
          <a:bodyPr/>
          <a:lstStyle/>
          <a:p>
            <a:r>
              <a:rPr lang="en-US" dirty="0"/>
              <a:t>Back to page 18…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D8DEC5-9E70-4D45-83E7-66DE382443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33</a:t>
            </a:fld>
            <a:endParaRPr lang="en-US" altLang="x-non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3B4C5F-3B73-C24D-B865-4527D9377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654" y="1182260"/>
            <a:ext cx="6071772" cy="3583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5347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3ED349-0ABC-E244-AFB5-AD2BA61FD7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38785" y="4662606"/>
            <a:ext cx="792782" cy="274638"/>
          </a:xfrm>
        </p:spPr>
        <p:txBody>
          <a:bodyPr/>
          <a:lstStyle/>
          <a:p>
            <a:fld id="{4572941C-6974-BE4E-9E84-DF4E3BF99134}" type="slidenum">
              <a:rPr lang="en-US" altLang="x-none" smtClean="0"/>
              <a:pPr/>
              <a:t>34</a:t>
            </a:fld>
            <a:endParaRPr lang="en-US" altLang="x-non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92C484-B6F2-F341-8495-FADAE35883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452" y="2798660"/>
            <a:ext cx="1998637" cy="149897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2D5FD4-5A01-4743-8462-4AF99DFC99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453" y="1072774"/>
            <a:ext cx="1998636" cy="1498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CC623EB-8FB9-9A4E-9BA3-1CAC5CC249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324" y="413541"/>
            <a:ext cx="2213849" cy="172328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8AD4478-4512-C44E-B365-A3B622BD04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558" y="2381087"/>
            <a:ext cx="2662227" cy="199667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BE1BAEE-7445-3C40-9856-802DB45922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3678" y="2686504"/>
            <a:ext cx="2212291" cy="172328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E3B46EE-1924-F644-A8CC-DB47A07709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558" y="353591"/>
            <a:ext cx="2662227" cy="174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9980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6E4A2B-954A-FF42-9DA7-572067176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35</a:t>
            </a:fld>
            <a:endParaRPr lang="en-US" altLang="x-non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6285AFC-248E-5C4B-A20C-82320E5A90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214" y="206256"/>
            <a:ext cx="4546229" cy="274194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E901D7-A7F0-C84C-8C1D-A6585BC144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310" y="3133844"/>
            <a:ext cx="8616257" cy="180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9326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BC7AEE-20D3-C448-A3DE-0B7743CE0D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36</a:t>
            </a:fld>
            <a:endParaRPr lang="en-US" altLang="x-non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9507A0-2104-8A46-9ECF-84B0E98A80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007" y="2338419"/>
            <a:ext cx="4482560" cy="25988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C3499B1-9E9A-354E-813E-BFCAAA60BC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966" y="1405260"/>
            <a:ext cx="3654415" cy="259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79972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37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9606" y="1051466"/>
            <a:ext cx="7133900" cy="3232554"/>
          </a:xfrm>
        </p:spPr>
        <p:txBody>
          <a:bodyPr/>
          <a:lstStyle/>
          <a:p>
            <a:pPr marL="0" indent="0" algn="ctr">
              <a:buNone/>
            </a:pPr>
            <a:r>
              <a:rPr lang="en-US" sz="8000" b="1" i="1" dirty="0">
                <a:solidFill>
                  <a:schemeClr val="accent1"/>
                </a:solidFill>
              </a:rPr>
              <a:t>15    20</a:t>
            </a:r>
          </a:p>
          <a:p>
            <a:pPr marL="0" indent="0" algn="ctr">
              <a:buNone/>
            </a:pPr>
            <a:r>
              <a:rPr lang="en-US" sz="8000" b="1" i="1" dirty="0">
                <a:solidFill>
                  <a:schemeClr val="accent1"/>
                </a:solidFill>
              </a:rPr>
              <a:t>30   40</a:t>
            </a:r>
          </a:p>
        </p:txBody>
      </p:sp>
    </p:spTree>
    <p:extLst>
      <p:ext uri="{BB962C8B-B14F-4D97-AF65-F5344CB8AC3E}">
        <p14:creationId xmlns:p14="http://schemas.microsoft.com/office/powerpoint/2010/main" val="14871002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3524" y="3217327"/>
            <a:ext cx="1510226" cy="529781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Marc Rovner, MD,  Medical Director</a:t>
            </a:r>
            <a:r>
              <a:rPr lang="en-US" dirty="0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572941C-6974-BE4E-9E84-DF4E3BF99134}" type="slidenum">
              <a:rPr lang="en-US" altLang="x-none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38</a:t>
            </a:fld>
            <a:endParaRPr lang="en-US" altLang="x-none" dirty="0"/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76" b="12876"/>
          <a:stretch>
            <a:fillRect/>
          </a:stretch>
        </p:blipFill>
        <p:spPr>
          <a:xfrm>
            <a:off x="6192264" y="1648872"/>
            <a:ext cx="1368933" cy="1330992"/>
          </a:xfr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9788" y="1621435"/>
            <a:ext cx="1174692" cy="151606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0201" y="1648872"/>
            <a:ext cx="1086342" cy="144953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572000" y="3217327"/>
            <a:ext cx="12640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spc="-30" dirty="0">
                <a:solidFill>
                  <a:srgbClr val="B30838"/>
                </a:solidFill>
                <a:latin typeface="Franklin Gothic Medium" charset="0"/>
                <a:ea typeface="+mn-ea"/>
                <a:cs typeface="+mn-cs"/>
              </a:rPr>
              <a:t>Natalie Cline, MA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spc="-30" dirty="0">
                <a:solidFill>
                  <a:srgbClr val="B30838"/>
                </a:solidFill>
                <a:latin typeface="Franklin Gothic Medium" charset="0"/>
                <a:ea typeface="+mn-ea"/>
                <a:cs typeface="+mn-cs"/>
              </a:rPr>
              <a:t>Program Manager </a:t>
            </a:r>
            <a:endParaRPr lang="en-US" sz="1500" dirty="0">
              <a:solidFill>
                <a:prstClr val="black"/>
              </a:solidFill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879700" y="3679440"/>
            <a:ext cx="1374867" cy="457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kern="1200" spc="-30">
                <a:solidFill>
                  <a:srgbClr val="B30838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  <a:lvl2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189"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378"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566"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754"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defTabSz="342892">
              <a:defRPr/>
            </a:pPr>
            <a:r>
              <a:rPr lang="en-US" sz="1500" spc="-23" dirty="0"/>
              <a:t>Anne O’Connor Clark, RN, BSN </a:t>
            </a:r>
          </a:p>
          <a:p>
            <a:pPr algn="ctr" defTabSz="342892">
              <a:defRPr/>
            </a:pPr>
            <a:r>
              <a:rPr lang="en-US" sz="1500" spc="-23" dirty="0"/>
              <a:t>Clinical Nursing Lead</a:t>
            </a:r>
          </a:p>
        </p:txBody>
      </p:sp>
      <p:sp>
        <p:nvSpPr>
          <p:cNvPr id="12" name="Title 3"/>
          <p:cNvSpPr txBox="1">
            <a:spLocks/>
          </p:cNvSpPr>
          <p:nvPr/>
        </p:nvSpPr>
        <p:spPr>
          <a:xfrm>
            <a:off x="1004677" y="859400"/>
            <a:ext cx="7251049" cy="7356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kern="1200" spc="-30">
                <a:solidFill>
                  <a:srgbClr val="B30838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  <a:lvl2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189"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378"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566"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754" algn="l" defTabSz="45718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defTabSz="342892">
              <a:defRPr/>
            </a:pPr>
            <a:r>
              <a:rPr lang="en-US" altLang="en-US" spc="-23" dirty="0"/>
              <a:t>COPD Population Health Initiative Lead Group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7A6CF7-8B13-D043-BC04-AD6079E6DE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014" y="1621435"/>
            <a:ext cx="1389054" cy="157303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5487FB4-5A72-EE47-AFC8-AA1CA78BD9FC}"/>
              </a:ext>
            </a:extLst>
          </p:cNvPr>
          <p:cNvSpPr txBox="1"/>
          <p:nvPr/>
        </p:nvSpPr>
        <p:spPr>
          <a:xfrm>
            <a:off x="967401" y="3283565"/>
            <a:ext cx="16842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Richard</a:t>
            </a:r>
          </a:p>
          <a:p>
            <a:pPr algn="ctr"/>
            <a:r>
              <a:rPr lang="en-US" b="1" dirty="0">
                <a:solidFill>
                  <a:schemeClr val="accent1"/>
                </a:solidFill>
              </a:rPr>
              <a:t>Bernhardt,</a:t>
            </a:r>
          </a:p>
          <a:p>
            <a:pPr algn="ctr"/>
            <a:r>
              <a:rPr lang="en-US" b="1" dirty="0">
                <a:solidFill>
                  <a:schemeClr val="accent1"/>
                </a:solidFill>
              </a:rPr>
              <a:t>MD, Chair</a:t>
            </a:r>
          </a:p>
          <a:p>
            <a:pPr algn="ctr"/>
            <a:endParaRPr lang="en-US" b="1" dirty="0">
              <a:solidFill>
                <a:schemeClr val="accent1"/>
              </a:solidFill>
            </a:endParaRPr>
          </a:p>
          <a:p>
            <a:pPr algn="ctr"/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92863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4677" y="666750"/>
            <a:ext cx="7251049" cy="533399"/>
          </a:xfrm>
        </p:spPr>
        <p:txBody>
          <a:bodyPr/>
          <a:lstStyle/>
          <a:p>
            <a:r>
              <a:rPr lang="en-US" dirty="0"/>
              <a:t>Partn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39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04677" y="1200152"/>
            <a:ext cx="7134273" cy="3737093"/>
          </a:xfrm>
        </p:spPr>
        <p:txBody>
          <a:bodyPr numCol="2"/>
          <a:lstStyle/>
          <a:p>
            <a:pPr marL="0" indent="0">
              <a:buNone/>
            </a:pPr>
            <a:r>
              <a:rPr lang="en-US" sz="1600" b="1" dirty="0"/>
              <a:t>COPD Working Group</a:t>
            </a:r>
          </a:p>
          <a:p>
            <a:pPr marL="0" indent="0">
              <a:buNone/>
            </a:pPr>
            <a:r>
              <a:rPr lang="en-US" sz="1350" dirty="0"/>
              <a:t>Ellen Bardwell</a:t>
            </a:r>
          </a:p>
          <a:p>
            <a:pPr marL="0" indent="0">
              <a:buNone/>
            </a:pPr>
            <a:r>
              <a:rPr lang="en-US" sz="1350" dirty="0"/>
              <a:t>Julie Barton</a:t>
            </a:r>
          </a:p>
          <a:p>
            <a:pPr marL="0" indent="0">
              <a:buNone/>
            </a:pPr>
            <a:r>
              <a:rPr lang="en-US" sz="1350" dirty="0"/>
              <a:t>Rick Bernhardt, MD</a:t>
            </a:r>
          </a:p>
          <a:p>
            <a:pPr marL="0" indent="0">
              <a:buNone/>
            </a:pPr>
            <a:r>
              <a:rPr lang="en-US" sz="1350" dirty="0"/>
              <a:t>Lisa Brandt</a:t>
            </a:r>
          </a:p>
          <a:p>
            <a:pPr marL="0" indent="0">
              <a:buNone/>
            </a:pPr>
            <a:r>
              <a:rPr lang="en-US" sz="1350" dirty="0"/>
              <a:t>Natalie Cline</a:t>
            </a:r>
          </a:p>
          <a:p>
            <a:pPr marL="0" indent="0">
              <a:buNone/>
            </a:pPr>
            <a:r>
              <a:rPr lang="en-US" sz="1350" dirty="0"/>
              <a:t>Mark Fajardo</a:t>
            </a:r>
          </a:p>
          <a:p>
            <a:pPr marL="0" indent="0">
              <a:buNone/>
            </a:pPr>
            <a:r>
              <a:rPr lang="en-US" sz="1350" dirty="0"/>
              <a:t>Pat Ingle</a:t>
            </a:r>
          </a:p>
          <a:p>
            <a:pPr marL="0" indent="0">
              <a:buNone/>
            </a:pPr>
            <a:r>
              <a:rPr lang="en-US" sz="1350" dirty="0"/>
              <a:t>Adria Grillo-Peck</a:t>
            </a:r>
          </a:p>
          <a:p>
            <a:pPr marL="0" indent="0">
              <a:buNone/>
            </a:pPr>
            <a:r>
              <a:rPr lang="en-US" sz="1350" dirty="0"/>
              <a:t>Ed Lee</a:t>
            </a:r>
          </a:p>
          <a:p>
            <a:pPr marL="0" indent="0">
              <a:buNone/>
            </a:pPr>
            <a:r>
              <a:rPr lang="en-US" sz="1350" dirty="0"/>
              <a:t>Anne O’Connor Clark</a:t>
            </a:r>
          </a:p>
          <a:p>
            <a:pPr marL="0" indent="0">
              <a:buNone/>
            </a:pPr>
            <a:r>
              <a:rPr lang="en-US" sz="1350" dirty="0"/>
              <a:t>Christy O’Riley</a:t>
            </a:r>
          </a:p>
          <a:p>
            <a:pPr marL="0" indent="0">
              <a:buNone/>
            </a:pPr>
            <a:r>
              <a:rPr lang="en-US" sz="1350" dirty="0"/>
              <a:t>Marc Rovner, MD</a:t>
            </a:r>
          </a:p>
          <a:p>
            <a:pPr marL="0" indent="0">
              <a:buNone/>
            </a:pPr>
            <a:r>
              <a:rPr lang="en-US" sz="1600" b="1" dirty="0"/>
              <a:t>COPD Clinical Guidelines Group</a:t>
            </a:r>
          </a:p>
          <a:p>
            <a:pPr marL="0" indent="0">
              <a:buNone/>
            </a:pPr>
            <a:r>
              <a:rPr lang="en-US" sz="1350" dirty="0"/>
              <a:t>Lead group from COPD Working Group</a:t>
            </a:r>
          </a:p>
          <a:p>
            <a:pPr marL="0" indent="0">
              <a:buNone/>
            </a:pPr>
            <a:r>
              <a:rPr lang="en-US" sz="1350" dirty="0"/>
              <a:t>Hospitalists from IUH Methodist &amp; West</a:t>
            </a:r>
          </a:p>
          <a:p>
            <a:pPr marL="0" indent="0">
              <a:buNone/>
            </a:pPr>
            <a:r>
              <a:rPr lang="en-US" sz="1350" dirty="0"/>
              <a:t>Cerner Representatives</a:t>
            </a:r>
          </a:p>
          <a:p>
            <a:pPr marL="0" indent="0">
              <a:buNone/>
            </a:pPr>
            <a:endParaRPr lang="en-US" sz="1350" b="1" dirty="0"/>
          </a:p>
          <a:p>
            <a:pPr marL="0" indent="0">
              <a:buNone/>
            </a:pPr>
            <a:r>
              <a:rPr lang="en-US" sz="1600" b="1" dirty="0"/>
              <a:t>Executive Sponsors</a:t>
            </a:r>
            <a:endParaRPr lang="en-US" sz="1350" b="1" dirty="0"/>
          </a:p>
          <a:p>
            <a:pPr marL="0" indent="0">
              <a:buNone/>
            </a:pPr>
            <a:r>
              <a:rPr lang="en-US" sz="1350" dirty="0"/>
              <a:t>Jonathan Gottlieb, MD</a:t>
            </a:r>
          </a:p>
          <a:p>
            <a:pPr marL="0" indent="0">
              <a:buNone/>
            </a:pPr>
            <a:r>
              <a:rPr lang="en-US" sz="1350" dirty="0"/>
              <a:t>Greg </a:t>
            </a:r>
            <a:r>
              <a:rPr lang="en-US" sz="1350" dirty="0" err="1"/>
              <a:t>Kiray</a:t>
            </a:r>
            <a:r>
              <a:rPr lang="en-US" sz="1350" dirty="0"/>
              <a:t>, MD</a:t>
            </a:r>
          </a:p>
          <a:p>
            <a:pPr marL="0" indent="0">
              <a:buNone/>
            </a:pPr>
            <a:r>
              <a:rPr lang="en-US" sz="1350" dirty="0"/>
              <a:t>John Fitzgerald, MD</a:t>
            </a:r>
          </a:p>
        </p:txBody>
      </p:sp>
    </p:spTree>
    <p:extLst>
      <p:ext uri="{BB962C8B-B14F-4D97-AF65-F5344CB8AC3E}">
        <p14:creationId xmlns:p14="http://schemas.microsoft.com/office/powerpoint/2010/main" val="2684687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4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146045" y="1102618"/>
            <a:ext cx="7133900" cy="3232554"/>
          </a:xfrm>
        </p:spPr>
        <p:txBody>
          <a:bodyPr/>
          <a:lstStyle/>
          <a:p>
            <a:r>
              <a:rPr lang="en-US" sz="1600" dirty="0"/>
              <a:t>COPD Definitions</a:t>
            </a:r>
          </a:p>
          <a:p>
            <a:endParaRPr lang="en-US" sz="1600" dirty="0"/>
          </a:p>
          <a:p>
            <a:r>
              <a:rPr lang="en-US" sz="1600" dirty="0"/>
              <a:t>GOLD Criteria 2018 - Key points and Controversies</a:t>
            </a:r>
          </a:p>
          <a:p>
            <a:pPr lvl="1"/>
            <a:endParaRPr lang="en-US" sz="1600" dirty="0"/>
          </a:p>
          <a:p>
            <a:r>
              <a:rPr lang="en-US" sz="1600" dirty="0"/>
              <a:t>The SCOPE of the Problem of COPD at Scale </a:t>
            </a:r>
          </a:p>
          <a:p>
            <a:endParaRPr lang="en-US" sz="1600" dirty="0"/>
          </a:p>
          <a:p>
            <a:r>
              <a:rPr lang="en-US" sz="1600" dirty="0"/>
              <a:t>Population Health as a Solution</a:t>
            </a:r>
          </a:p>
          <a:p>
            <a:pPr lvl="1"/>
            <a:endParaRPr lang="en-US" sz="1600" dirty="0"/>
          </a:p>
          <a:p>
            <a:r>
              <a:rPr lang="en-US" sz="1600" dirty="0"/>
              <a:t>Our Vision for Pop Health and the unique role for Pulmonary Rehab</a:t>
            </a:r>
          </a:p>
        </p:txBody>
      </p:sp>
    </p:spTree>
    <p:extLst>
      <p:ext uri="{BB962C8B-B14F-4D97-AF65-F5344CB8AC3E}">
        <p14:creationId xmlns:p14="http://schemas.microsoft.com/office/powerpoint/2010/main" val="40775853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5</a:t>
            </a:fld>
            <a:endParaRPr lang="en-US" altLang="x-non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87736" y="2254565"/>
            <a:ext cx="7251049" cy="735645"/>
          </a:xfrm>
        </p:spPr>
        <p:txBody>
          <a:bodyPr/>
          <a:lstStyle/>
          <a:p>
            <a:pPr algn="ctr"/>
            <a:r>
              <a:rPr lang="en-US" dirty="0"/>
              <a:t>COPD Definitions</a:t>
            </a:r>
          </a:p>
        </p:txBody>
      </p:sp>
    </p:spTree>
    <p:extLst>
      <p:ext uri="{BB962C8B-B14F-4D97-AF65-F5344CB8AC3E}">
        <p14:creationId xmlns:p14="http://schemas.microsoft.com/office/powerpoint/2010/main" val="4278890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PD Definitions – we can’t even agree on this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6</a:t>
            </a:fld>
            <a:endParaRPr lang="en-US" alt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GOLD </a:t>
            </a:r>
            <a:r>
              <a:rPr lang="en-US" dirty="0"/>
              <a:t>– “Global Initiative for COP(L)D - Started by NHLBI in 1998 with revisions 2006, 2011, 2017 and 2018</a:t>
            </a:r>
          </a:p>
          <a:p>
            <a:pPr marL="0" indent="0">
              <a:buNone/>
            </a:pPr>
            <a:r>
              <a:rPr lang="en-US" dirty="0"/>
              <a:t>All things COPD – Evidenced-based, a standar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GOLD COPD Definition </a:t>
            </a:r>
            <a:r>
              <a:rPr lang="en-US" dirty="0"/>
              <a:t>– “a common, preventable, treatable disease characterized by persistent respiratory symptoms and airflow limitation” </a:t>
            </a:r>
            <a:r>
              <a:rPr lang="en-US" dirty="0">
                <a:solidFill>
                  <a:schemeClr val="tx1"/>
                </a:solidFill>
              </a:rPr>
              <a:t>What is airflow limitation? </a:t>
            </a: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	Spirometry! - FVC/FEV1 ratio of &lt;0.70</a:t>
            </a:r>
          </a:p>
          <a:p>
            <a:pPr marL="0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CONTROVERSY</a:t>
            </a:r>
          </a:p>
          <a:p>
            <a:pPr marL="0" indent="0">
              <a:buNone/>
            </a:pPr>
            <a:r>
              <a:rPr lang="en-US" dirty="0"/>
              <a:t>ATS/ERS Standard (?) says airflow limitation is defined as an FEV1 below the LLN (not the ratio)</a:t>
            </a:r>
          </a:p>
          <a:p>
            <a:pPr marL="0" indent="0">
              <a:buNone/>
            </a:pPr>
            <a:r>
              <a:rPr lang="en-US" dirty="0"/>
              <a:t>Why the difference? The ratio over diagnosis COPD in pts &gt; age 65 and under diagnosis in pts &lt; age 65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dirty="0"/>
              <a:t>But there’s more…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3087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736" y="2113165"/>
            <a:ext cx="7251049" cy="735645"/>
          </a:xfrm>
        </p:spPr>
        <p:txBody>
          <a:bodyPr/>
          <a:lstStyle/>
          <a:p>
            <a:pPr algn="ctr"/>
            <a:r>
              <a:rPr lang="en-US" dirty="0"/>
              <a:t>GOLD Criteri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7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42643097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LD Complex Assessment of Severit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8</a:t>
            </a:fld>
            <a:endParaRPr lang="en-US" altLang="x-non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8982" y="1656932"/>
            <a:ext cx="5800407" cy="294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093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MRC</a:t>
            </a:r>
            <a:r>
              <a:rPr lang="en-US" dirty="0"/>
              <a:t> and CAT – LOOK but don’t remember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2941C-6974-BE4E-9E84-DF4E3BF99134}" type="slidenum">
              <a:rPr lang="en-US" altLang="x-none" smtClean="0"/>
              <a:pPr/>
              <a:t>9</a:t>
            </a:fld>
            <a:endParaRPr lang="en-US" altLang="x-non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77" y="1959526"/>
            <a:ext cx="5000625" cy="18859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875" y="1484362"/>
            <a:ext cx="3490038" cy="2836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001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ndiana University Health">
      <a:dk1>
        <a:sysClr val="windowText" lastClr="000000"/>
      </a:dk1>
      <a:lt1>
        <a:sysClr val="window" lastClr="FFFFFF"/>
      </a:lt1>
      <a:dk2>
        <a:srgbClr val="A1A1A4"/>
      </a:dk2>
      <a:lt2>
        <a:srgbClr val="EEECE1"/>
      </a:lt2>
      <a:accent1>
        <a:srgbClr val="B30838"/>
      </a:accent1>
      <a:accent2>
        <a:srgbClr val="F2EDD7"/>
      </a:accent2>
      <a:accent3>
        <a:srgbClr val="AFDDD2"/>
      </a:accent3>
      <a:accent4>
        <a:srgbClr val="D0E4A6"/>
      </a:accent4>
      <a:accent5>
        <a:srgbClr val="E9D666"/>
      </a:accent5>
      <a:accent6>
        <a:srgbClr val="C2D1D4"/>
      </a:accent6>
      <a:hlink>
        <a:srgbClr val="0000FF"/>
      </a:hlink>
      <a:folHlink>
        <a:srgbClr val="800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Indiana University Health">
      <a:dk1>
        <a:sysClr val="windowText" lastClr="000000"/>
      </a:dk1>
      <a:lt1>
        <a:sysClr val="window" lastClr="FFFFFF"/>
      </a:lt1>
      <a:dk2>
        <a:srgbClr val="A1A1A4"/>
      </a:dk2>
      <a:lt2>
        <a:srgbClr val="EEECE1"/>
      </a:lt2>
      <a:accent1>
        <a:srgbClr val="B30838"/>
      </a:accent1>
      <a:accent2>
        <a:srgbClr val="F2EDD7"/>
      </a:accent2>
      <a:accent3>
        <a:srgbClr val="AFDDD2"/>
      </a:accent3>
      <a:accent4>
        <a:srgbClr val="D0E4A6"/>
      </a:accent4>
      <a:accent5>
        <a:srgbClr val="E9D666"/>
      </a:accent5>
      <a:accent6>
        <a:srgbClr val="C2D1D4"/>
      </a:accent6>
      <a:hlink>
        <a:srgbClr val="0000FF"/>
      </a:hlink>
      <a:folHlink>
        <a:srgbClr val="800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Indiana University Health">
      <a:dk1>
        <a:sysClr val="windowText" lastClr="000000"/>
      </a:dk1>
      <a:lt1>
        <a:sysClr val="window" lastClr="FFFFFF"/>
      </a:lt1>
      <a:dk2>
        <a:srgbClr val="A1A1A4"/>
      </a:dk2>
      <a:lt2>
        <a:srgbClr val="EEECE1"/>
      </a:lt2>
      <a:accent1>
        <a:srgbClr val="B30838"/>
      </a:accent1>
      <a:accent2>
        <a:srgbClr val="F2EDD7"/>
      </a:accent2>
      <a:accent3>
        <a:srgbClr val="AFDDD2"/>
      </a:accent3>
      <a:accent4>
        <a:srgbClr val="D0E4A6"/>
      </a:accent4>
      <a:accent5>
        <a:srgbClr val="E9D666"/>
      </a:accent5>
      <a:accent6>
        <a:srgbClr val="C2D1D4"/>
      </a:accent6>
      <a:hlink>
        <a:srgbClr val="0000FF"/>
      </a:hlink>
      <a:folHlink>
        <a:srgbClr val="800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04</TotalTime>
  <Words>632</Words>
  <Application>Microsoft Office PowerPoint</Application>
  <PresentationFormat>On-screen Show (16:9)</PresentationFormat>
  <Paragraphs>213</Paragraphs>
  <Slides>39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39</vt:i4>
      </vt:variant>
    </vt:vector>
  </HeadingPairs>
  <TitlesOfParts>
    <vt:vector size="42" baseType="lpstr">
      <vt:lpstr>1_Office Theme</vt:lpstr>
      <vt:lpstr>2_Office Theme</vt:lpstr>
      <vt:lpstr>3_Office Theme</vt:lpstr>
      <vt:lpstr>Population Health for COPD </vt:lpstr>
      <vt:lpstr>PowerPoint Presentation</vt:lpstr>
      <vt:lpstr> New Patient</vt:lpstr>
      <vt:lpstr>PowerPoint Presentation</vt:lpstr>
      <vt:lpstr>COPD Definitions</vt:lpstr>
      <vt:lpstr>COPD Definitions – we can’t even agree on this!</vt:lpstr>
      <vt:lpstr>GOLD Criteria</vt:lpstr>
      <vt:lpstr>GOLD Complex Assessment of Severity</vt:lpstr>
      <vt:lpstr>mMRC and CAT – LOOK but don’t remember!</vt:lpstr>
      <vt:lpstr>Complex Assessment of Severity – Why? </vt:lpstr>
      <vt:lpstr>PowerPoint Presentation</vt:lpstr>
      <vt:lpstr>PowerPoint Presentation</vt:lpstr>
      <vt:lpstr>…much more to do for this patient!</vt:lpstr>
      <vt:lpstr>The SCOPE of the Problem of COPD at Scale  </vt:lpstr>
      <vt:lpstr>SCOPE</vt:lpstr>
      <vt:lpstr>SCOPE - IUHP</vt:lpstr>
      <vt:lpstr>SCOPE - IUHP</vt:lpstr>
      <vt:lpstr>SCOPE - IUHP</vt:lpstr>
      <vt:lpstr>Venn Diagram Prioritizes n=430 members for COPD Complex Care Management</vt:lpstr>
      <vt:lpstr>There is still so much more to do for THESE patients!</vt:lpstr>
      <vt:lpstr>PowerPoint Presentation</vt:lpstr>
      <vt:lpstr>That’s “why” Population Health!</vt:lpstr>
      <vt:lpstr> Our Vision for the unique role for Pulmonary Rehab  and Pop Health for COPD… </vt:lpstr>
      <vt:lpstr>COPD Population Health Program Map</vt:lpstr>
      <vt:lpstr>PowerPoint Presentation</vt:lpstr>
      <vt:lpstr>Interventions</vt:lpstr>
      <vt:lpstr>PowerPoint Presentation</vt:lpstr>
      <vt:lpstr>It starts with Pulmonary Rehabilitation.</vt:lpstr>
      <vt:lpstr>PowerPoint Presentation</vt:lpstr>
      <vt:lpstr>PowerPoint Presentation</vt:lpstr>
      <vt:lpstr>Page 18...</vt:lpstr>
      <vt:lpstr>Page 18...</vt:lpstr>
      <vt:lpstr>Back to page 18…</vt:lpstr>
      <vt:lpstr>PowerPoint Presentation</vt:lpstr>
      <vt:lpstr>PowerPoint Presentation</vt:lpstr>
      <vt:lpstr>PowerPoint Presentation</vt:lpstr>
      <vt:lpstr>PowerPoint Presentation</vt:lpstr>
      <vt:lpstr>Marc Rovner, MD,  Medical Director </vt:lpstr>
      <vt:lpstr>Partners</vt:lpstr>
    </vt:vector>
  </TitlesOfParts>
  <Company>IU Heal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olving the IU Health Brand Strategy</dc:title>
  <dc:creator>Mangan, David P</dc:creator>
  <cp:lastModifiedBy>Rovner,</cp:lastModifiedBy>
  <cp:revision>729</cp:revision>
  <cp:lastPrinted>2019-01-21T19:52:41Z</cp:lastPrinted>
  <dcterms:created xsi:type="dcterms:W3CDTF">2016-12-07T14:20:07Z</dcterms:created>
  <dcterms:modified xsi:type="dcterms:W3CDTF">2019-04-24T10:50:31Z</dcterms:modified>
</cp:coreProperties>
</file>